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  <p:sldId id="260" r:id="rId5"/>
    <p:sldId id="259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72" r:id="rId15"/>
    <p:sldId id="269" r:id="rId16"/>
    <p:sldId id="270" r:id="rId17"/>
    <p:sldId id="271" r:id="rId18"/>
    <p:sldId id="273" r:id="rId19"/>
    <p:sldId id="275" r:id="rId20"/>
    <p:sldId id="276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3551"/>
    <a:srgbClr val="F2F9F9"/>
    <a:srgbClr val="FFF7C7"/>
    <a:srgbClr val="F8F7E0"/>
    <a:srgbClr val="EEFDFD"/>
    <a:srgbClr val="F3F3F3"/>
    <a:srgbClr val="E9F2DF"/>
    <a:srgbClr val="11A7FC"/>
    <a:srgbClr val="95D127"/>
    <a:srgbClr val="FF86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5" autoAdjust="0"/>
    <p:restoredTop sz="94660"/>
  </p:normalViewPr>
  <p:slideViewPr>
    <p:cSldViewPr snapToGrid="0" showGuides="1">
      <p:cViewPr>
        <p:scale>
          <a:sx n="81" d="100"/>
          <a:sy n="81" d="100"/>
        </p:scale>
        <p:origin x="-1088" y="-568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printerSettings" Target="printerSettings/printerSettings1.bin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8740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5447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72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5307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7515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6220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0942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0728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15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1060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0878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366E2-2601-4D70-82CC-BEB7FE4CAA1E}" type="datetimeFigureOut">
              <a:rPr lang="zh-CN" altLang="en-US" smtClean="0"/>
              <a:t>15/5/2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958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17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microsoft.com/office/2007/relationships/hdphoto" Target="../media/hdphoto4.wdp"/><Relationship Id="rId7" Type="http://schemas.openxmlformats.org/officeDocument/2006/relationships/image" Target="../media/image21.png"/><Relationship Id="rId8" Type="http://schemas.microsoft.com/office/2007/relationships/hdphoto" Target="../media/hdphoto5.wdp"/><Relationship Id="rId9" Type="http://schemas.openxmlformats.org/officeDocument/2006/relationships/image" Target="../media/image22.png"/><Relationship Id="rId10" Type="http://schemas.microsoft.com/office/2007/relationships/hdphoto" Target="../media/hdphoto6.wdp"/><Relationship Id="rId11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7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7" Type="http://schemas.openxmlformats.org/officeDocument/2006/relationships/image" Target="../media/image13.png"/><Relationship Id="rId8" Type="http://schemas.microsoft.com/office/2007/relationships/hdphoto" Target="../media/hdphoto3.wdp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6.png"/><Relationship Id="rId7" Type="http://schemas.openxmlformats.org/officeDocument/2006/relationships/image" Target="../media/image7.png"/><Relationship Id="rId8" Type="http://schemas.openxmlformats.org/officeDocument/2006/relationships/image" Target="../media/image10.png"/><Relationship Id="rId9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3181429" y="1723333"/>
            <a:ext cx="5892130" cy="3093226"/>
            <a:chOff x="3181429" y="1723333"/>
            <a:chExt cx="5892130" cy="3093226"/>
          </a:xfrm>
        </p:grpSpPr>
        <p:grpSp>
          <p:nvGrpSpPr>
            <p:cNvPr id="26" name="组合 25"/>
            <p:cNvGrpSpPr/>
            <p:nvPr/>
          </p:nvGrpSpPr>
          <p:grpSpPr>
            <a:xfrm>
              <a:off x="3729909" y="2001944"/>
              <a:ext cx="4887877" cy="2371800"/>
              <a:chOff x="3729909" y="2001944"/>
              <a:chExt cx="4887877" cy="2371800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916016" y="2001944"/>
                <a:ext cx="169136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2800" dirty="0" smtClean="0"/>
                  <a:t>Design by:</a:t>
                </a:r>
                <a:endParaRPr lang="zh-CN" altLang="en-US" sz="2800" dirty="0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3729909" y="2425774"/>
                <a:ext cx="4887877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6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DESIGNER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椭圆 1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4357886" y="4035190"/>
                <a:ext cx="40184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181429" y="4294363"/>
              <a:ext cx="605747" cy="522196"/>
              <a:chOff x="3253145" y="4294363"/>
              <a:chExt cx="605747" cy="522196"/>
            </a:xfrm>
          </p:grpSpPr>
          <p:sp>
            <p:nvSpPr>
              <p:cNvPr id="15" name="六边形 14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3794602" y="3952412"/>
              <a:ext cx="605747" cy="522196"/>
              <a:chOff x="3866318" y="3952412"/>
              <a:chExt cx="605747" cy="522196"/>
            </a:xfrm>
          </p:grpSpPr>
          <p:sp>
            <p:nvSpPr>
              <p:cNvPr id="16" name="六边形 15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3" name="六边形 1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4255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0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53040" y="4185464"/>
            <a:ext cx="5469331" cy="1570334"/>
            <a:chOff x="553040" y="4185464"/>
            <a:chExt cx="5469331" cy="1570334"/>
          </a:xfrm>
        </p:grpSpPr>
        <p:grpSp>
          <p:nvGrpSpPr>
            <p:cNvPr id="76" name="组合 75"/>
            <p:cNvGrpSpPr/>
            <p:nvPr/>
          </p:nvGrpSpPr>
          <p:grpSpPr>
            <a:xfrm>
              <a:off x="553040" y="4201159"/>
              <a:ext cx="5469331" cy="1554639"/>
              <a:chOff x="5211168" y="3864019"/>
              <a:chExt cx="5469331" cy="1554639"/>
            </a:xfrm>
          </p:grpSpPr>
          <p:grpSp>
            <p:nvGrpSpPr>
              <p:cNvPr id="80" name="组合 79"/>
              <p:cNvGrpSpPr/>
              <p:nvPr/>
            </p:nvGrpSpPr>
            <p:grpSpPr>
              <a:xfrm>
                <a:off x="5917761" y="3864019"/>
                <a:ext cx="3944572" cy="646331"/>
                <a:chOff x="-3744304" y="6216486"/>
                <a:chExt cx="3944572" cy="646331"/>
              </a:xfrm>
            </p:grpSpPr>
            <p:sp>
              <p:nvSpPr>
                <p:cNvPr id="82" name="矩形 81"/>
                <p:cNvSpPr/>
                <p:nvPr/>
              </p:nvSpPr>
              <p:spPr>
                <a:xfrm>
                  <a:off x="-3729013" y="6216486"/>
                  <a:ext cx="3929281" cy="6463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dirty="0">
                      <a:solidFill>
                        <a:srgbClr val="EE355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GO LIVE FOR THE HEALTHY </a:t>
                  </a:r>
                  <a:endParaRPr lang="en-US" altLang="zh-CN" dirty="0" smtClean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  <a:p>
                  <a:r>
                    <a:rPr lang="en-US" altLang="zh-CN" dirty="0" smtClean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SEAS </a:t>
                  </a:r>
                  <a:r>
                    <a:rPr lang="en-US" altLang="zh-CN" dirty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INITIATIVE!</a:t>
                  </a:r>
                  <a:endParaRPr lang="zh-CN" altLang="en-US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</p:txBody>
            </p:sp>
            <p:cxnSp>
              <p:nvCxnSpPr>
                <p:cNvPr id="83" name="直接连接符 82"/>
                <p:cNvCxnSpPr/>
                <p:nvPr/>
              </p:nvCxnSpPr>
              <p:spPr>
                <a:xfrm>
                  <a:off x="-3744304" y="6257262"/>
                  <a:ext cx="0" cy="504000"/>
                </a:xfrm>
                <a:prstGeom prst="line">
                  <a:avLst/>
                </a:prstGeom>
                <a:ln w="57150">
                  <a:solidFill>
                    <a:srgbClr val="EE355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1" name="矩形 80"/>
              <p:cNvSpPr/>
              <p:nvPr/>
            </p:nvSpPr>
            <p:spPr>
              <a:xfrm>
                <a:off x="5211168" y="4479939"/>
                <a:ext cx="5469331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</a:rPr>
                  <a:t>The colors are vivid and with stylish pattern. For man,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.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 smtClean="0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 x-life ECO.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Freeform 53"/>
            <p:cNvSpPr>
              <a:spLocks noEditPoints="1"/>
            </p:cNvSpPr>
            <p:nvPr/>
          </p:nvSpPr>
          <p:spPr bwMode="black">
            <a:xfrm>
              <a:off x="616179" y="4185464"/>
              <a:ext cx="528156" cy="596043"/>
            </a:xfrm>
            <a:custGeom>
              <a:avLst/>
              <a:gdLst>
                <a:gd name="T0" fmla="*/ 466 w 1443"/>
                <a:gd name="T1" fmla="*/ 0 h 1627"/>
                <a:gd name="T2" fmla="*/ 466 w 1443"/>
                <a:gd name="T3" fmla="*/ 294 h 1627"/>
                <a:gd name="T4" fmla="*/ 0 w 1443"/>
                <a:gd name="T5" fmla="*/ 1173 h 1627"/>
                <a:gd name="T6" fmla="*/ 48 w 1443"/>
                <a:gd name="T7" fmla="*/ 1230 h 1627"/>
                <a:gd name="T8" fmla="*/ 186 w 1443"/>
                <a:gd name="T9" fmla="*/ 1363 h 1627"/>
                <a:gd name="T10" fmla="*/ 210 w 1443"/>
                <a:gd name="T11" fmla="*/ 1455 h 1627"/>
                <a:gd name="T12" fmla="*/ 31 w 1443"/>
                <a:gd name="T13" fmla="*/ 1545 h 1627"/>
                <a:gd name="T14" fmla="*/ 49 w 1443"/>
                <a:gd name="T15" fmla="*/ 1554 h 1627"/>
                <a:gd name="T16" fmla="*/ 61 w 1443"/>
                <a:gd name="T17" fmla="*/ 1620 h 1627"/>
                <a:gd name="T18" fmla="*/ 73 w 1443"/>
                <a:gd name="T19" fmla="*/ 1553 h 1627"/>
                <a:gd name="T20" fmla="*/ 210 w 1443"/>
                <a:gd name="T21" fmla="*/ 1525 h 1627"/>
                <a:gd name="T22" fmla="*/ 215 w 1443"/>
                <a:gd name="T23" fmla="*/ 1537 h 1627"/>
                <a:gd name="T24" fmla="*/ 228 w 1443"/>
                <a:gd name="T25" fmla="*/ 1594 h 1627"/>
                <a:gd name="T26" fmla="*/ 258 w 1443"/>
                <a:gd name="T27" fmla="*/ 1627 h 1627"/>
                <a:gd name="T28" fmla="*/ 271 w 1443"/>
                <a:gd name="T29" fmla="*/ 1594 h 1627"/>
                <a:gd name="T30" fmla="*/ 276 w 1443"/>
                <a:gd name="T31" fmla="*/ 1537 h 1627"/>
                <a:gd name="T32" fmla="*/ 411 w 1443"/>
                <a:gd name="T33" fmla="*/ 1541 h 1627"/>
                <a:gd name="T34" fmla="*/ 388 w 1443"/>
                <a:gd name="T35" fmla="*/ 1586 h 1627"/>
                <a:gd name="T36" fmla="*/ 457 w 1443"/>
                <a:gd name="T37" fmla="*/ 1586 h 1627"/>
                <a:gd name="T38" fmla="*/ 435 w 1443"/>
                <a:gd name="T39" fmla="*/ 1543 h 1627"/>
                <a:gd name="T40" fmla="*/ 452 w 1443"/>
                <a:gd name="T41" fmla="*/ 1504 h 1627"/>
                <a:gd name="T42" fmla="*/ 276 w 1443"/>
                <a:gd name="T43" fmla="*/ 1363 h 1627"/>
                <a:gd name="T44" fmla="*/ 299 w 1443"/>
                <a:gd name="T45" fmla="*/ 1230 h 1627"/>
                <a:gd name="T46" fmla="*/ 514 w 1443"/>
                <a:gd name="T47" fmla="*/ 1182 h 1627"/>
                <a:gd name="T48" fmla="*/ 494 w 1443"/>
                <a:gd name="T49" fmla="*/ 1134 h 1627"/>
                <a:gd name="T50" fmla="*/ 538 w 1443"/>
                <a:gd name="T51" fmla="*/ 1491 h 1627"/>
                <a:gd name="T52" fmla="*/ 722 w 1443"/>
                <a:gd name="T53" fmla="*/ 1528 h 1627"/>
                <a:gd name="T54" fmla="*/ 816 w 1443"/>
                <a:gd name="T55" fmla="*/ 1053 h 1627"/>
                <a:gd name="T56" fmla="*/ 817 w 1443"/>
                <a:gd name="T57" fmla="*/ 1052 h 1627"/>
                <a:gd name="T58" fmla="*/ 818 w 1443"/>
                <a:gd name="T59" fmla="*/ 1027 h 1627"/>
                <a:gd name="T60" fmla="*/ 439 w 1443"/>
                <a:gd name="T61" fmla="*/ 938 h 1627"/>
                <a:gd name="T62" fmla="*/ 820 w 1443"/>
                <a:gd name="T63" fmla="*/ 772 h 1627"/>
                <a:gd name="T64" fmla="*/ 1231 w 1443"/>
                <a:gd name="T65" fmla="*/ 760 h 1627"/>
                <a:gd name="T66" fmla="*/ 1245 w 1443"/>
                <a:gd name="T67" fmla="*/ 707 h 1627"/>
                <a:gd name="T68" fmla="*/ 1428 w 1443"/>
                <a:gd name="T69" fmla="*/ 267 h 1627"/>
                <a:gd name="T70" fmla="*/ 1235 w 1443"/>
                <a:gd name="T71" fmla="*/ 687 h 1627"/>
                <a:gd name="T72" fmla="*/ 1215 w 1443"/>
                <a:gd name="T73" fmla="*/ 700 h 1627"/>
                <a:gd name="T74" fmla="*/ 898 w 1443"/>
                <a:gd name="T75" fmla="*/ 693 h 1627"/>
                <a:gd name="T76" fmla="*/ 507 w 1443"/>
                <a:gd name="T77" fmla="*/ 615 h 1627"/>
                <a:gd name="T78" fmla="*/ 415 w 1443"/>
                <a:gd name="T79" fmla="*/ 354 h 1627"/>
                <a:gd name="T80" fmla="*/ 196 w 1443"/>
                <a:gd name="T81" fmla="*/ 456 h 1627"/>
                <a:gd name="T82" fmla="*/ 138 w 1443"/>
                <a:gd name="T83" fmla="*/ 730 h 1627"/>
                <a:gd name="T84" fmla="*/ 90 w 1443"/>
                <a:gd name="T85" fmla="*/ 530 h 1627"/>
                <a:gd name="T86" fmla="*/ 6 w 1443"/>
                <a:gd name="T87" fmla="*/ 578 h 1627"/>
                <a:gd name="T88" fmla="*/ 49 w 1443"/>
                <a:gd name="T89" fmla="*/ 966 h 1627"/>
                <a:gd name="T90" fmla="*/ 48 w 1443"/>
                <a:gd name="T91" fmla="*/ 1125 h 1627"/>
                <a:gd name="T92" fmla="*/ 96 w 1443"/>
                <a:gd name="T93" fmla="*/ 1084 h 1627"/>
                <a:gd name="T94" fmla="*/ 96 w 1443"/>
                <a:gd name="T95" fmla="*/ 1125 h 1627"/>
                <a:gd name="T96" fmla="*/ 1084 w 1443"/>
                <a:gd name="T97" fmla="*/ 1519 h 1627"/>
                <a:gd name="T98" fmla="*/ 824 w 1443"/>
                <a:gd name="T99" fmla="*/ 1618 h 1627"/>
                <a:gd name="T100" fmla="*/ 1443 w 1443"/>
                <a:gd name="T101" fmla="*/ 1519 h 1627"/>
                <a:gd name="T102" fmla="*/ 1293 w 1443"/>
                <a:gd name="T103" fmla="*/ 870 h 1627"/>
                <a:gd name="T104" fmla="*/ 1443 w 1443"/>
                <a:gd name="T105" fmla="*/ 772 h 1627"/>
                <a:gd name="T106" fmla="*/ 586 w 1443"/>
                <a:gd name="T107" fmla="*/ 870 h 1627"/>
                <a:gd name="T108" fmla="*/ 1084 w 1443"/>
                <a:gd name="T109" fmla="*/ 1519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43" h="1627">
                  <a:moveTo>
                    <a:pt x="613" y="147"/>
                  </a:moveTo>
                  <a:cubicBezTo>
                    <a:pt x="613" y="65"/>
                    <a:pt x="547" y="0"/>
                    <a:pt x="466" y="0"/>
                  </a:cubicBezTo>
                  <a:cubicBezTo>
                    <a:pt x="385" y="0"/>
                    <a:pt x="319" y="65"/>
                    <a:pt x="319" y="147"/>
                  </a:cubicBezTo>
                  <a:cubicBezTo>
                    <a:pt x="319" y="228"/>
                    <a:pt x="385" y="294"/>
                    <a:pt x="466" y="294"/>
                  </a:cubicBezTo>
                  <a:cubicBezTo>
                    <a:pt x="547" y="294"/>
                    <a:pt x="613" y="228"/>
                    <a:pt x="613" y="147"/>
                  </a:cubicBezTo>
                  <a:close/>
                  <a:moveTo>
                    <a:pt x="0" y="1173"/>
                  </a:moveTo>
                  <a:cubicBezTo>
                    <a:pt x="0" y="1182"/>
                    <a:pt x="0" y="1182"/>
                    <a:pt x="0" y="1182"/>
                  </a:cubicBezTo>
                  <a:cubicBezTo>
                    <a:pt x="0" y="1208"/>
                    <a:pt x="22" y="1230"/>
                    <a:pt x="48" y="1230"/>
                  </a:cubicBezTo>
                  <a:cubicBezTo>
                    <a:pt x="186" y="1230"/>
                    <a:pt x="186" y="1230"/>
                    <a:pt x="186" y="1230"/>
                  </a:cubicBezTo>
                  <a:cubicBezTo>
                    <a:pt x="186" y="1363"/>
                    <a:pt x="186" y="1363"/>
                    <a:pt x="186" y="1363"/>
                  </a:cubicBezTo>
                  <a:cubicBezTo>
                    <a:pt x="210" y="1363"/>
                    <a:pt x="210" y="1363"/>
                    <a:pt x="210" y="1363"/>
                  </a:cubicBezTo>
                  <a:cubicBezTo>
                    <a:pt x="210" y="1455"/>
                    <a:pt x="210" y="1455"/>
                    <a:pt x="210" y="1455"/>
                  </a:cubicBezTo>
                  <a:cubicBezTo>
                    <a:pt x="31" y="1504"/>
                    <a:pt x="31" y="1504"/>
                    <a:pt x="31" y="1504"/>
                  </a:cubicBezTo>
                  <a:cubicBezTo>
                    <a:pt x="31" y="1545"/>
                    <a:pt x="31" y="1545"/>
                    <a:pt x="31" y="1545"/>
                  </a:cubicBezTo>
                  <a:cubicBezTo>
                    <a:pt x="49" y="1543"/>
                    <a:pt x="49" y="1543"/>
                    <a:pt x="49" y="1543"/>
                  </a:cubicBezTo>
                  <a:cubicBezTo>
                    <a:pt x="49" y="1554"/>
                    <a:pt x="49" y="1554"/>
                    <a:pt x="49" y="1554"/>
                  </a:cubicBezTo>
                  <a:cubicBezTo>
                    <a:pt x="36" y="1558"/>
                    <a:pt x="26" y="1571"/>
                    <a:pt x="26" y="1586"/>
                  </a:cubicBezTo>
                  <a:cubicBezTo>
                    <a:pt x="26" y="1605"/>
                    <a:pt x="42" y="1620"/>
                    <a:pt x="61" y="1620"/>
                  </a:cubicBezTo>
                  <a:cubicBezTo>
                    <a:pt x="80" y="1620"/>
                    <a:pt x="95" y="1605"/>
                    <a:pt x="95" y="1586"/>
                  </a:cubicBezTo>
                  <a:cubicBezTo>
                    <a:pt x="95" y="1571"/>
                    <a:pt x="86" y="1558"/>
                    <a:pt x="73" y="1553"/>
                  </a:cubicBezTo>
                  <a:cubicBezTo>
                    <a:pt x="73" y="1541"/>
                    <a:pt x="73" y="1541"/>
                    <a:pt x="73" y="1541"/>
                  </a:cubicBezTo>
                  <a:cubicBezTo>
                    <a:pt x="210" y="1525"/>
                    <a:pt x="210" y="1525"/>
                    <a:pt x="210" y="1525"/>
                  </a:cubicBezTo>
                  <a:cubicBezTo>
                    <a:pt x="210" y="1537"/>
                    <a:pt x="210" y="1537"/>
                    <a:pt x="210" y="1537"/>
                  </a:cubicBezTo>
                  <a:cubicBezTo>
                    <a:pt x="215" y="1537"/>
                    <a:pt x="215" y="1537"/>
                    <a:pt x="215" y="1537"/>
                  </a:cubicBezTo>
                  <a:cubicBezTo>
                    <a:pt x="215" y="1594"/>
                    <a:pt x="215" y="1594"/>
                    <a:pt x="215" y="1594"/>
                  </a:cubicBezTo>
                  <a:cubicBezTo>
                    <a:pt x="228" y="1594"/>
                    <a:pt x="228" y="1594"/>
                    <a:pt x="228" y="1594"/>
                  </a:cubicBezTo>
                  <a:cubicBezTo>
                    <a:pt x="228" y="1627"/>
                    <a:pt x="228" y="1627"/>
                    <a:pt x="228" y="1627"/>
                  </a:cubicBezTo>
                  <a:cubicBezTo>
                    <a:pt x="258" y="1627"/>
                    <a:pt x="258" y="1627"/>
                    <a:pt x="258" y="1627"/>
                  </a:cubicBezTo>
                  <a:cubicBezTo>
                    <a:pt x="258" y="1594"/>
                    <a:pt x="258" y="1594"/>
                    <a:pt x="258" y="1594"/>
                  </a:cubicBezTo>
                  <a:cubicBezTo>
                    <a:pt x="271" y="1594"/>
                    <a:pt x="271" y="1594"/>
                    <a:pt x="271" y="1594"/>
                  </a:cubicBezTo>
                  <a:cubicBezTo>
                    <a:pt x="271" y="1537"/>
                    <a:pt x="271" y="1537"/>
                    <a:pt x="271" y="1537"/>
                  </a:cubicBezTo>
                  <a:cubicBezTo>
                    <a:pt x="276" y="1537"/>
                    <a:pt x="276" y="1537"/>
                    <a:pt x="276" y="1537"/>
                  </a:cubicBezTo>
                  <a:cubicBezTo>
                    <a:pt x="276" y="1525"/>
                    <a:pt x="276" y="1525"/>
                    <a:pt x="276" y="1525"/>
                  </a:cubicBezTo>
                  <a:cubicBezTo>
                    <a:pt x="411" y="1541"/>
                    <a:pt x="411" y="1541"/>
                    <a:pt x="411" y="1541"/>
                  </a:cubicBezTo>
                  <a:cubicBezTo>
                    <a:pt x="411" y="1553"/>
                    <a:pt x="411" y="1553"/>
                    <a:pt x="411" y="1553"/>
                  </a:cubicBezTo>
                  <a:cubicBezTo>
                    <a:pt x="398" y="1558"/>
                    <a:pt x="388" y="1571"/>
                    <a:pt x="388" y="1586"/>
                  </a:cubicBezTo>
                  <a:cubicBezTo>
                    <a:pt x="388" y="1605"/>
                    <a:pt x="404" y="1620"/>
                    <a:pt x="423" y="1620"/>
                  </a:cubicBezTo>
                  <a:cubicBezTo>
                    <a:pt x="442" y="1620"/>
                    <a:pt x="457" y="1605"/>
                    <a:pt x="457" y="1586"/>
                  </a:cubicBezTo>
                  <a:cubicBezTo>
                    <a:pt x="457" y="1571"/>
                    <a:pt x="448" y="1558"/>
                    <a:pt x="435" y="1554"/>
                  </a:cubicBezTo>
                  <a:cubicBezTo>
                    <a:pt x="435" y="1543"/>
                    <a:pt x="435" y="1543"/>
                    <a:pt x="435" y="1543"/>
                  </a:cubicBezTo>
                  <a:cubicBezTo>
                    <a:pt x="452" y="1545"/>
                    <a:pt x="452" y="1545"/>
                    <a:pt x="452" y="1545"/>
                  </a:cubicBezTo>
                  <a:cubicBezTo>
                    <a:pt x="452" y="1504"/>
                    <a:pt x="452" y="1504"/>
                    <a:pt x="452" y="1504"/>
                  </a:cubicBezTo>
                  <a:cubicBezTo>
                    <a:pt x="276" y="1456"/>
                    <a:pt x="276" y="1456"/>
                    <a:pt x="276" y="1456"/>
                  </a:cubicBezTo>
                  <a:cubicBezTo>
                    <a:pt x="276" y="1363"/>
                    <a:pt x="276" y="1363"/>
                    <a:pt x="276" y="1363"/>
                  </a:cubicBezTo>
                  <a:cubicBezTo>
                    <a:pt x="299" y="1363"/>
                    <a:pt x="299" y="1363"/>
                    <a:pt x="299" y="1363"/>
                  </a:cubicBezTo>
                  <a:cubicBezTo>
                    <a:pt x="299" y="1230"/>
                    <a:pt x="299" y="1230"/>
                    <a:pt x="299" y="1230"/>
                  </a:cubicBezTo>
                  <a:cubicBezTo>
                    <a:pt x="466" y="1230"/>
                    <a:pt x="466" y="1230"/>
                    <a:pt x="466" y="1230"/>
                  </a:cubicBezTo>
                  <a:cubicBezTo>
                    <a:pt x="493" y="1230"/>
                    <a:pt x="514" y="1208"/>
                    <a:pt x="514" y="1182"/>
                  </a:cubicBezTo>
                  <a:cubicBezTo>
                    <a:pt x="514" y="1173"/>
                    <a:pt x="514" y="1173"/>
                    <a:pt x="514" y="1173"/>
                  </a:cubicBezTo>
                  <a:cubicBezTo>
                    <a:pt x="514" y="1157"/>
                    <a:pt x="506" y="1143"/>
                    <a:pt x="494" y="1134"/>
                  </a:cubicBezTo>
                  <a:cubicBezTo>
                    <a:pt x="609" y="1134"/>
                    <a:pt x="609" y="1134"/>
                    <a:pt x="609" y="1134"/>
                  </a:cubicBezTo>
                  <a:cubicBezTo>
                    <a:pt x="538" y="1491"/>
                    <a:pt x="538" y="1491"/>
                    <a:pt x="538" y="1491"/>
                  </a:cubicBezTo>
                  <a:cubicBezTo>
                    <a:pt x="528" y="1539"/>
                    <a:pt x="562" y="1586"/>
                    <a:pt x="613" y="1596"/>
                  </a:cubicBezTo>
                  <a:cubicBezTo>
                    <a:pt x="664" y="1606"/>
                    <a:pt x="713" y="1576"/>
                    <a:pt x="722" y="1528"/>
                  </a:cubicBezTo>
                  <a:cubicBezTo>
                    <a:pt x="816" y="1057"/>
                    <a:pt x="816" y="1057"/>
                    <a:pt x="816" y="1057"/>
                  </a:cubicBezTo>
                  <a:cubicBezTo>
                    <a:pt x="816" y="1056"/>
                    <a:pt x="816" y="1054"/>
                    <a:pt x="816" y="1053"/>
                  </a:cubicBezTo>
                  <a:cubicBezTo>
                    <a:pt x="816" y="1053"/>
                    <a:pt x="816" y="1053"/>
                    <a:pt x="816" y="1053"/>
                  </a:cubicBezTo>
                  <a:cubicBezTo>
                    <a:pt x="817" y="1053"/>
                    <a:pt x="817" y="1052"/>
                    <a:pt x="817" y="1052"/>
                  </a:cubicBezTo>
                  <a:cubicBezTo>
                    <a:pt x="817" y="1051"/>
                    <a:pt x="817" y="1051"/>
                    <a:pt x="817" y="1051"/>
                  </a:cubicBezTo>
                  <a:cubicBezTo>
                    <a:pt x="818" y="1043"/>
                    <a:pt x="818" y="1035"/>
                    <a:pt x="818" y="1027"/>
                  </a:cubicBezTo>
                  <a:cubicBezTo>
                    <a:pt x="813" y="977"/>
                    <a:pt x="771" y="938"/>
                    <a:pt x="720" y="938"/>
                  </a:cubicBezTo>
                  <a:cubicBezTo>
                    <a:pt x="439" y="938"/>
                    <a:pt x="439" y="938"/>
                    <a:pt x="439" y="938"/>
                  </a:cubicBezTo>
                  <a:cubicBezTo>
                    <a:pt x="474" y="772"/>
                    <a:pt x="474" y="772"/>
                    <a:pt x="474" y="772"/>
                  </a:cubicBezTo>
                  <a:cubicBezTo>
                    <a:pt x="820" y="772"/>
                    <a:pt x="820" y="772"/>
                    <a:pt x="820" y="772"/>
                  </a:cubicBezTo>
                  <a:cubicBezTo>
                    <a:pt x="835" y="772"/>
                    <a:pt x="849" y="767"/>
                    <a:pt x="861" y="760"/>
                  </a:cubicBezTo>
                  <a:cubicBezTo>
                    <a:pt x="1231" y="760"/>
                    <a:pt x="1231" y="760"/>
                    <a:pt x="1231" y="760"/>
                  </a:cubicBezTo>
                  <a:cubicBezTo>
                    <a:pt x="1231" y="717"/>
                    <a:pt x="1231" y="717"/>
                    <a:pt x="1231" y="717"/>
                  </a:cubicBezTo>
                  <a:cubicBezTo>
                    <a:pt x="1238" y="717"/>
                    <a:pt x="1251" y="709"/>
                    <a:pt x="1245" y="707"/>
                  </a:cubicBezTo>
                  <a:cubicBezTo>
                    <a:pt x="1258" y="712"/>
                    <a:pt x="1258" y="712"/>
                    <a:pt x="1258" y="712"/>
                  </a:cubicBezTo>
                  <a:cubicBezTo>
                    <a:pt x="1427" y="272"/>
                    <a:pt x="1255" y="721"/>
                    <a:pt x="1428" y="267"/>
                  </a:cubicBezTo>
                  <a:cubicBezTo>
                    <a:pt x="1372" y="246"/>
                    <a:pt x="1400" y="256"/>
                    <a:pt x="1400" y="25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4" y="686"/>
                    <a:pt x="1232" y="686"/>
                    <a:pt x="1231" y="686"/>
                  </a:cubicBezTo>
                  <a:cubicBezTo>
                    <a:pt x="1223" y="686"/>
                    <a:pt x="1216" y="692"/>
                    <a:pt x="1215" y="700"/>
                  </a:cubicBezTo>
                  <a:cubicBezTo>
                    <a:pt x="898" y="700"/>
                    <a:pt x="898" y="700"/>
                    <a:pt x="898" y="700"/>
                  </a:cubicBezTo>
                  <a:cubicBezTo>
                    <a:pt x="898" y="698"/>
                    <a:pt x="898" y="695"/>
                    <a:pt x="898" y="693"/>
                  </a:cubicBezTo>
                  <a:cubicBezTo>
                    <a:pt x="898" y="650"/>
                    <a:pt x="863" y="615"/>
                    <a:pt x="820" y="615"/>
                  </a:cubicBezTo>
                  <a:cubicBezTo>
                    <a:pt x="507" y="615"/>
                    <a:pt x="507" y="615"/>
                    <a:pt x="507" y="615"/>
                  </a:cubicBezTo>
                  <a:cubicBezTo>
                    <a:pt x="526" y="525"/>
                    <a:pt x="526" y="525"/>
                    <a:pt x="526" y="525"/>
                  </a:cubicBezTo>
                  <a:cubicBezTo>
                    <a:pt x="542" y="447"/>
                    <a:pt x="492" y="371"/>
                    <a:pt x="415" y="354"/>
                  </a:cubicBezTo>
                  <a:cubicBezTo>
                    <a:pt x="367" y="344"/>
                    <a:pt x="367" y="344"/>
                    <a:pt x="367" y="344"/>
                  </a:cubicBezTo>
                  <a:cubicBezTo>
                    <a:pt x="289" y="328"/>
                    <a:pt x="213" y="378"/>
                    <a:pt x="196" y="456"/>
                  </a:cubicBezTo>
                  <a:cubicBezTo>
                    <a:pt x="151" y="670"/>
                    <a:pt x="151" y="670"/>
                    <a:pt x="151" y="670"/>
                  </a:cubicBezTo>
                  <a:cubicBezTo>
                    <a:pt x="138" y="730"/>
                    <a:pt x="138" y="730"/>
                    <a:pt x="138" y="730"/>
                  </a:cubicBezTo>
                  <a:cubicBezTo>
                    <a:pt x="138" y="578"/>
                    <a:pt x="138" y="578"/>
                    <a:pt x="138" y="578"/>
                  </a:cubicBezTo>
                  <a:cubicBezTo>
                    <a:pt x="138" y="552"/>
                    <a:pt x="117" y="530"/>
                    <a:pt x="90" y="530"/>
                  </a:cubicBezTo>
                  <a:cubicBezTo>
                    <a:pt x="54" y="530"/>
                    <a:pt x="54" y="530"/>
                    <a:pt x="54" y="530"/>
                  </a:cubicBezTo>
                  <a:cubicBezTo>
                    <a:pt x="28" y="530"/>
                    <a:pt x="6" y="552"/>
                    <a:pt x="6" y="578"/>
                  </a:cubicBezTo>
                  <a:cubicBezTo>
                    <a:pt x="6" y="918"/>
                    <a:pt x="6" y="918"/>
                    <a:pt x="6" y="918"/>
                  </a:cubicBezTo>
                  <a:cubicBezTo>
                    <a:pt x="6" y="943"/>
                    <a:pt x="25" y="964"/>
                    <a:pt x="49" y="966"/>
                  </a:cubicBezTo>
                  <a:cubicBezTo>
                    <a:pt x="49" y="1125"/>
                    <a:pt x="49" y="1125"/>
                    <a:pt x="49" y="1125"/>
                  </a:cubicBezTo>
                  <a:cubicBezTo>
                    <a:pt x="48" y="1125"/>
                    <a:pt x="48" y="1125"/>
                    <a:pt x="48" y="1125"/>
                  </a:cubicBezTo>
                  <a:cubicBezTo>
                    <a:pt x="22" y="1125"/>
                    <a:pt x="0" y="1146"/>
                    <a:pt x="0" y="1173"/>
                  </a:cubicBezTo>
                  <a:close/>
                  <a:moveTo>
                    <a:pt x="96" y="1084"/>
                  </a:moveTo>
                  <a:cubicBezTo>
                    <a:pt x="106" y="1101"/>
                    <a:pt x="121" y="1116"/>
                    <a:pt x="140" y="1125"/>
                  </a:cubicBezTo>
                  <a:cubicBezTo>
                    <a:pt x="96" y="1125"/>
                    <a:pt x="96" y="1125"/>
                    <a:pt x="96" y="1125"/>
                  </a:cubicBezTo>
                  <a:lnTo>
                    <a:pt x="96" y="1084"/>
                  </a:lnTo>
                  <a:close/>
                  <a:moveTo>
                    <a:pt x="1084" y="1519"/>
                  </a:moveTo>
                  <a:cubicBezTo>
                    <a:pt x="824" y="1519"/>
                    <a:pt x="824" y="1519"/>
                    <a:pt x="824" y="1519"/>
                  </a:cubicBezTo>
                  <a:cubicBezTo>
                    <a:pt x="824" y="1618"/>
                    <a:pt x="824" y="1618"/>
                    <a:pt x="824" y="1618"/>
                  </a:cubicBezTo>
                  <a:cubicBezTo>
                    <a:pt x="1443" y="1618"/>
                    <a:pt x="1443" y="1618"/>
                    <a:pt x="1443" y="1618"/>
                  </a:cubicBezTo>
                  <a:cubicBezTo>
                    <a:pt x="1443" y="1519"/>
                    <a:pt x="1443" y="1519"/>
                    <a:pt x="1443" y="1519"/>
                  </a:cubicBezTo>
                  <a:cubicBezTo>
                    <a:pt x="1293" y="1519"/>
                    <a:pt x="1293" y="1519"/>
                    <a:pt x="1293" y="1519"/>
                  </a:cubicBezTo>
                  <a:cubicBezTo>
                    <a:pt x="1293" y="870"/>
                    <a:pt x="1293" y="870"/>
                    <a:pt x="1293" y="870"/>
                  </a:cubicBezTo>
                  <a:cubicBezTo>
                    <a:pt x="1443" y="870"/>
                    <a:pt x="1443" y="870"/>
                    <a:pt x="1443" y="870"/>
                  </a:cubicBezTo>
                  <a:cubicBezTo>
                    <a:pt x="1443" y="772"/>
                    <a:pt x="1443" y="772"/>
                    <a:pt x="1443" y="772"/>
                  </a:cubicBezTo>
                  <a:cubicBezTo>
                    <a:pt x="586" y="772"/>
                    <a:pt x="586" y="772"/>
                    <a:pt x="586" y="772"/>
                  </a:cubicBezTo>
                  <a:cubicBezTo>
                    <a:pt x="586" y="870"/>
                    <a:pt x="586" y="870"/>
                    <a:pt x="586" y="870"/>
                  </a:cubicBezTo>
                  <a:cubicBezTo>
                    <a:pt x="1084" y="870"/>
                    <a:pt x="1084" y="870"/>
                    <a:pt x="1084" y="870"/>
                  </a:cubicBezTo>
                  <a:lnTo>
                    <a:pt x="1084" y="15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57125" tIns="28565" rIns="57125" bIns="28565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6104267" y="4223073"/>
            <a:ext cx="5469331" cy="1554639"/>
            <a:chOff x="5211168" y="3864019"/>
            <a:chExt cx="5469331" cy="1554639"/>
          </a:xfrm>
        </p:grpSpPr>
        <p:grpSp>
          <p:nvGrpSpPr>
            <p:cNvPr id="93" name="组合 92"/>
            <p:cNvGrpSpPr/>
            <p:nvPr/>
          </p:nvGrpSpPr>
          <p:grpSpPr>
            <a:xfrm>
              <a:off x="5917761" y="3864019"/>
              <a:ext cx="3944572" cy="646331"/>
              <a:chOff x="-3744304" y="6216486"/>
              <a:chExt cx="3944572" cy="646331"/>
            </a:xfrm>
          </p:grpSpPr>
          <p:sp>
            <p:nvSpPr>
              <p:cNvPr id="95" name="矩形 94"/>
              <p:cNvSpPr/>
              <p:nvPr/>
            </p:nvSpPr>
            <p:spPr>
              <a:xfrm>
                <a:off x="-3729013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96" name="直接连接符 95"/>
              <p:cNvCxnSpPr/>
              <p:nvPr/>
            </p:nvCxnSpPr>
            <p:spPr>
              <a:xfrm>
                <a:off x="-3744304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矩形 93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114"/>
          <p:cNvGrpSpPr/>
          <p:nvPr/>
        </p:nvGrpSpPr>
        <p:grpSpPr bwMode="black">
          <a:xfrm>
            <a:off x="6121781" y="4277916"/>
            <a:ext cx="592056" cy="481664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98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b="42984"/>
          <a:stretch/>
        </p:blipFill>
        <p:spPr>
          <a:xfrm>
            <a:off x="0" y="1957137"/>
            <a:ext cx="12220686" cy="1925053"/>
          </a:xfrm>
          <a:prstGeom prst="rect">
            <a:avLst/>
          </a:prstGeom>
        </p:spPr>
      </p:pic>
      <p:grpSp>
        <p:nvGrpSpPr>
          <p:cNvPr id="102" name="组合 10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03" name="组合 10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11" name="矩形 11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2" name="文本框 11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13" name="文本框 11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14" name="直接连接符 11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椭圆 11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6" name="文本框 11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9" name="六边形 10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6" name="六边形 10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2624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肘形连接符 74"/>
          <p:cNvCxnSpPr/>
          <p:nvPr/>
        </p:nvCxnSpPr>
        <p:spPr>
          <a:xfrm rot="5400000">
            <a:off x="4746602" y="3383864"/>
            <a:ext cx="28731" cy="108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1557465" y="2196112"/>
            <a:ext cx="9399320" cy="3200898"/>
            <a:chOff x="551384" y="1793631"/>
            <a:chExt cx="11687508" cy="5248793"/>
          </a:xfrm>
        </p:grpSpPr>
        <p:sp>
          <p:nvSpPr>
            <p:cNvPr id="78" name="任意多边形 77"/>
            <p:cNvSpPr/>
            <p:nvPr/>
          </p:nvSpPr>
          <p:spPr>
            <a:xfrm>
              <a:off x="551384" y="1793631"/>
              <a:ext cx="11652339" cy="5169877"/>
            </a:xfrm>
            <a:custGeom>
              <a:avLst/>
              <a:gdLst>
                <a:gd name="connsiteX0" fmla="*/ 140677 w 11394831"/>
                <a:gd name="connsiteY0" fmla="*/ 2461846 h 5169877"/>
                <a:gd name="connsiteX1" fmla="*/ 1969477 w 11394831"/>
                <a:gd name="connsiteY1" fmla="*/ 0 h 5169877"/>
                <a:gd name="connsiteX2" fmla="*/ 4009293 w 11394831"/>
                <a:gd name="connsiteY2" fmla="*/ 844061 h 5169877"/>
                <a:gd name="connsiteX3" fmla="*/ 5697416 w 11394831"/>
                <a:gd name="connsiteY3" fmla="*/ 457200 h 5169877"/>
                <a:gd name="connsiteX4" fmla="*/ 7561385 w 11394831"/>
                <a:gd name="connsiteY4" fmla="*/ 984738 h 5169877"/>
                <a:gd name="connsiteX5" fmla="*/ 9249508 w 11394831"/>
                <a:gd name="connsiteY5" fmla="*/ 597877 h 5169877"/>
                <a:gd name="connsiteX6" fmla="*/ 11148646 w 11394831"/>
                <a:gd name="connsiteY6" fmla="*/ 1371600 h 5169877"/>
                <a:gd name="connsiteX7" fmla="*/ 11359662 w 11394831"/>
                <a:gd name="connsiteY7" fmla="*/ 668215 h 5169877"/>
                <a:gd name="connsiteX8" fmla="*/ 11394831 w 11394831"/>
                <a:gd name="connsiteY8" fmla="*/ 5169877 h 5169877"/>
                <a:gd name="connsiteX9" fmla="*/ 0 w 11394831"/>
                <a:gd name="connsiteY9" fmla="*/ 5064369 h 5169877"/>
                <a:gd name="connsiteX10" fmla="*/ 140677 w 11394831"/>
                <a:gd name="connsiteY10" fmla="*/ 2461846 h 516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94831" h="5169877">
                  <a:moveTo>
                    <a:pt x="140677" y="2461846"/>
                  </a:moveTo>
                  <a:lnTo>
                    <a:pt x="1969477" y="0"/>
                  </a:lnTo>
                  <a:lnTo>
                    <a:pt x="4009293" y="844061"/>
                  </a:lnTo>
                  <a:lnTo>
                    <a:pt x="5697416" y="457200"/>
                  </a:lnTo>
                  <a:lnTo>
                    <a:pt x="7561385" y="984738"/>
                  </a:lnTo>
                  <a:lnTo>
                    <a:pt x="9249508" y="597877"/>
                  </a:lnTo>
                  <a:lnTo>
                    <a:pt x="11148646" y="1371600"/>
                  </a:lnTo>
                  <a:lnTo>
                    <a:pt x="11359662" y="668215"/>
                  </a:lnTo>
                  <a:lnTo>
                    <a:pt x="11394831" y="5169877"/>
                  </a:lnTo>
                  <a:lnTo>
                    <a:pt x="0" y="5064369"/>
                  </a:lnTo>
                  <a:lnTo>
                    <a:pt x="140677" y="24618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562708" y="3024554"/>
              <a:ext cx="11676184" cy="3868615"/>
            </a:xfrm>
            <a:custGeom>
              <a:avLst/>
              <a:gdLst>
                <a:gd name="connsiteX0" fmla="*/ 70338 w 11676184"/>
                <a:gd name="connsiteY0" fmla="*/ 1793631 h 3868615"/>
                <a:gd name="connsiteX1" fmla="*/ 2883877 w 11676184"/>
                <a:gd name="connsiteY1" fmla="*/ 2074984 h 3868615"/>
                <a:gd name="connsiteX2" fmla="*/ 5662246 w 11676184"/>
                <a:gd name="connsiteY2" fmla="*/ 211015 h 3868615"/>
                <a:gd name="connsiteX3" fmla="*/ 7913077 w 11676184"/>
                <a:gd name="connsiteY3" fmla="*/ 949569 h 3868615"/>
                <a:gd name="connsiteX4" fmla="*/ 9390184 w 11676184"/>
                <a:gd name="connsiteY4" fmla="*/ 0 h 3868615"/>
                <a:gd name="connsiteX5" fmla="*/ 10796954 w 11676184"/>
                <a:gd name="connsiteY5" fmla="*/ 1160584 h 3868615"/>
                <a:gd name="connsiteX6" fmla="*/ 11605846 w 11676184"/>
                <a:gd name="connsiteY6" fmla="*/ 281354 h 3868615"/>
                <a:gd name="connsiteX7" fmla="*/ 11676184 w 11676184"/>
                <a:gd name="connsiteY7" fmla="*/ 3868615 h 3868615"/>
                <a:gd name="connsiteX8" fmla="*/ 0 w 11676184"/>
                <a:gd name="connsiteY8" fmla="*/ 3763108 h 3868615"/>
                <a:gd name="connsiteX9" fmla="*/ 70338 w 11676184"/>
                <a:gd name="connsiteY9" fmla="*/ 1793631 h 386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76184" h="3868615">
                  <a:moveTo>
                    <a:pt x="70338" y="1793631"/>
                  </a:moveTo>
                  <a:lnTo>
                    <a:pt x="2883877" y="2074984"/>
                  </a:lnTo>
                  <a:lnTo>
                    <a:pt x="5662246" y="211015"/>
                  </a:lnTo>
                  <a:lnTo>
                    <a:pt x="7913077" y="949569"/>
                  </a:lnTo>
                  <a:lnTo>
                    <a:pt x="9390184" y="0"/>
                  </a:lnTo>
                  <a:lnTo>
                    <a:pt x="10796954" y="1160584"/>
                  </a:lnTo>
                  <a:lnTo>
                    <a:pt x="11605846" y="281354"/>
                  </a:lnTo>
                  <a:lnTo>
                    <a:pt x="11676184" y="3868615"/>
                  </a:lnTo>
                  <a:lnTo>
                    <a:pt x="0" y="3763108"/>
                  </a:lnTo>
                  <a:lnTo>
                    <a:pt x="70338" y="17936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597878" y="4123379"/>
              <a:ext cx="11641014" cy="2919045"/>
            </a:xfrm>
            <a:custGeom>
              <a:avLst/>
              <a:gdLst>
                <a:gd name="connsiteX0" fmla="*/ 0 w 11641015"/>
                <a:gd name="connsiteY0" fmla="*/ 2004646 h 2919046"/>
                <a:gd name="connsiteX1" fmla="*/ 4853354 w 11641015"/>
                <a:gd name="connsiteY1" fmla="*/ 1688123 h 2919046"/>
                <a:gd name="connsiteX2" fmla="*/ 5838092 w 11641015"/>
                <a:gd name="connsiteY2" fmla="*/ 175846 h 2919046"/>
                <a:gd name="connsiteX3" fmla="*/ 8194431 w 11641015"/>
                <a:gd name="connsiteY3" fmla="*/ 1582615 h 2919046"/>
                <a:gd name="connsiteX4" fmla="*/ 9495692 w 11641015"/>
                <a:gd name="connsiteY4" fmla="*/ 0 h 2919046"/>
                <a:gd name="connsiteX5" fmla="*/ 10796954 w 11641015"/>
                <a:gd name="connsiteY5" fmla="*/ 1406769 h 2919046"/>
                <a:gd name="connsiteX6" fmla="*/ 11570677 w 11641015"/>
                <a:gd name="connsiteY6" fmla="*/ 422030 h 2919046"/>
                <a:gd name="connsiteX7" fmla="*/ 11641015 w 11641015"/>
                <a:gd name="connsiteY7" fmla="*/ 2919046 h 2919046"/>
                <a:gd name="connsiteX8" fmla="*/ 35169 w 11641015"/>
                <a:gd name="connsiteY8" fmla="*/ 2743200 h 2919046"/>
                <a:gd name="connsiteX9" fmla="*/ 0 w 11641015"/>
                <a:gd name="connsiteY9" fmla="*/ 2004646 h 291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41015" h="2919046">
                  <a:moveTo>
                    <a:pt x="0" y="2004646"/>
                  </a:moveTo>
                  <a:lnTo>
                    <a:pt x="4853354" y="1688123"/>
                  </a:lnTo>
                  <a:lnTo>
                    <a:pt x="5838092" y="175846"/>
                  </a:lnTo>
                  <a:lnTo>
                    <a:pt x="8194431" y="1582615"/>
                  </a:lnTo>
                  <a:lnTo>
                    <a:pt x="9495692" y="0"/>
                  </a:lnTo>
                  <a:lnTo>
                    <a:pt x="10796954" y="1406769"/>
                  </a:lnTo>
                  <a:lnTo>
                    <a:pt x="11570677" y="422030"/>
                  </a:lnTo>
                  <a:lnTo>
                    <a:pt x="11641015" y="2919046"/>
                  </a:lnTo>
                  <a:lnTo>
                    <a:pt x="35169" y="2743200"/>
                  </a:lnTo>
                  <a:lnTo>
                    <a:pt x="0" y="2004646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359695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5926178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25540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3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496301" y="5456441"/>
            <a:ext cx="294642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1267728" y="4225852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1" name="文本框 100"/>
          <p:cNvSpPr txBox="1"/>
          <p:nvPr/>
        </p:nvSpPr>
        <p:spPr>
          <a:xfrm>
            <a:off x="1267728" y="3149705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9229" y="6185784"/>
              <a:ext cx="2616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1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90" name="文本框 89"/>
          <p:cNvSpPr txBox="1"/>
          <p:nvPr/>
        </p:nvSpPr>
        <p:spPr>
          <a:xfrm>
            <a:off x="10584626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4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2889943" y="1952910"/>
            <a:ext cx="533993" cy="282995"/>
            <a:chOff x="6117110" y="2473263"/>
            <a:chExt cx="533993" cy="282995"/>
          </a:xfrm>
        </p:grpSpPr>
        <p:grpSp>
          <p:nvGrpSpPr>
            <p:cNvPr id="105" name="组合 104"/>
            <p:cNvGrpSpPr/>
            <p:nvPr/>
          </p:nvGrpSpPr>
          <p:grpSpPr>
            <a:xfrm>
              <a:off x="6117110" y="2473263"/>
              <a:ext cx="533993" cy="230832"/>
              <a:chOff x="6006961" y="2363002"/>
              <a:chExt cx="533993" cy="2308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7" name="组合 10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9" name="六边形 10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0" name="等腰三角形 10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8" name="文本框 107"/>
              <p:cNvSpPr txBox="1"/>
              <p:nvPr/>
            </p:nvSpPr>
            <p:spPr>
              <a:xfrm>
                <a:off x="6043801" y="2363002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6" name="椭圆 10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3610760" y="3832800"/>
            <a:ext cx="533993" cy="293580"/>
            <a:chOff x="6117110" y="2462678"/>
            <a:chExt cx="533993" cy="293580"/>
          </a:xfrm>
        </p:grpSpPr>
        <p:grpSp>
          <p:nvGrpSpPr>
            <p:cNvPr id="112" name="组合 111"/>
            <p:cNvGrpSpPr/>
            <p:nvPr/>
          </p:nvGrpSpPr>
          <p:grpSpPr>
            <a:xfrm>
              <a:off x="6117110" y="2462678"/>
              <a:ext cx="533993" cy="237024"/>
              <a:chOff x="6006961" y="2352417"/>
              <a:chExt cx="533993" cy="23702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4" name="组合 11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6" name="六边形 11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7" name="等腰三角形 11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5" name="文本框 114"/>
              <p:cNvSpPr txBox="1"/>
              <p:nvPr/>
            </p:nvSpPr>
            <p:spPr>
              <a:xfrm>
                <a:off x="6037362" y="2352417"/>
                <a:ext cx="47961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3" name="椭圆 11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5913105" y="2162323"/>
            <a:ext cx="533993" cy="293579"/>
            <a:chOff x="6117110" y="2462679"/>
            <a:chExt cx="533993" cy="293579"/>
          </a:xfrm>
        </p:grpSpPr>
        <p:grpSp>
          <p:nvGrpSpPr>
            <p:cNvPr id="119" name="组合 118"/>
            <p:cNvGrpSpPr/>
            <p:nvPr/>
          </p:nvGrpSpPr>
          <p:grpSpPr>
            <a:xfrm>
              <a:off x="6117110" y="2462679"/>
              <a:ext cx="533993" cy="237023"/>
              <a:chOff x="6006961" y="2352418"/>
              <a:chExt cx="533993" cy="23702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组合 120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3" name="六边形 122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4" name="等腰三角形 123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2" name="文本框 121"/>
              <p:cNvSpPr txBox="1"/>
              <p:nvPr/>
            </p:nvSpPr>
            <p:spPr>
              <a:xfrm>
                <a:off x="6037362" y="2352418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0" name="椭圆 119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24"/>
          <p:cNvGrpSpPr/>
          <p:nvPr/>
        </p:nvGrpSpPr>
        <p:grpSpPr>
          <a:xfrm>
            <a:off x="7582390" y="3178025"/>
            <a:ext cx="533993" cy="297830"/>
            <a:chOff x="6117110" y="2458428"/>
            <a:chExt cx="533993" cy="297830"/>
          </a:xfrm>
        </p:grpSpPr>
        <p:grpSp>
          <p:nvGrpSpPr>
            <p:cNvPr id="126" name="组合 125"/>
            <p:cNvGrpSpPr/>
            <p:nvPr/>
          </p:nvGrpSpPr>
          <p:grpSpPr>
            <a:xfrm>
              <a:off x="6117110" y="2458428"/>
              <a:ext cx="533993" cy="241274"/>
              <a:chOff x="6006961" y="2348167"/>
              <a:chExt cx="533993" cy="24127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8" name="组合 127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0" name="六边形 129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1" name="等腰三角形 130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86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9" name="文本框 128"/>
              <p:cNvSpPr txBox="1"/>
              <p:nvPr/>
            </p:nvSpPr>
            <p:spPr>
              <a:xfrm>
                <a:off x="6025223" y="234816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7" name="椭圆 126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2" name="组合 131"/>
          <p:cNvGrpSpPr/>
          <p:nvPr/>
        </p:nvGrpSpPr>
        <p:grpSpPr>
          <a:xfrm>
            <a:off x="8919973" y="2260130"/>
            <a:ext cx="533993" cy="291310"/>
            <a:chOff x="6117110" y="2464948"/>
            <a:chExt cx="533993" cy="291310"/>
          </a:xfrm>
        </p:grpSpPr>
        <p:grpSp>
          <p:nvGrpSpPr>
            <p:cNvPr id="133" name="组合 132"/>
            <p:cNvGrpSpPr/>
            <p:nvPr/>
          </p:nvGrpSpPr>
          <p:grpSpPr>
            <a:xfrm>
              <a:off x="6117110" y="2464948"/>
              <a:ext cx="533993" cy="234754"/>
              <a:chOff x="6006961" y="2354687"/>
              <a:chExt cx="533993" cy="23475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5" name="组合 134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7" name="六边形 136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等腰三角形 137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36" name="文本框 135"/>
              <p:cNvSpPr txBox="1"/>
              <p:nvPr/>
            </p:nvSpPr>
            <p:spPr>
              <a:xfrm>
                <a:off x="6037362" y="235468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34" name="椭圆 133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9" name="组合 138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0" name="组合 139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7" name="矩形 146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9" name="文本框 148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0" name="直接连接符 14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椭圆 150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5" name="六边形 144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6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2" name="组合 141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3" name="六边形 14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4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05178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2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" name="矩形 138"/>
          <p:cNvSpPr/>
          <p:nvPr/>
        </p:nvSpPr>
        <p:spPr>
          <a:xfrm>
            <a:off x="1170835" y="2162742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/>
          <p:cNvSpPr/>
          <p:nvPr/>
        </p:nvSpPr>
        <p:spPr>
          <a:xfrm>
            <a:off x="2875894" y="2175977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矩形 140"/>
          <p:cNvSpPr/>
          <p:nvPr/>
        </p:nvSpPr>
        <p:spPr>
          <a:xfrm>
            <a:off x="2875894" y="3848829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 141"/>
          <p:cNvSpPr/>
          <p:nvPr/>
        </p:nvSpPr>
        <p:spPr>
          <a:xfrm>
            <a:off x="1170835" y="3857176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4569038" y="2162742"/>
            <a:ext cx="1860140" cy="648931"/>
            <a:chOff x="4569038" y="2186188"/>
            <a:chExt cx="1860140" cy="648931"/>
          </a:xfrm>
        </p:grpSpPr>
        <p:sp>
          <p:nvSpPr>
            <p:cNvPr id="143" name="流程图: 手动输入 142"/>
            <p:cNvSpPr/>
            <p:nvPr/>
          </p:nvSpPr>
          <p:spPr>
            <a:xfrm rot="5400000" flipH="1">
              <a:off x="5730166" y="2136107"/>
              <a:ext cx="647041" cy="750982"/>
            </a:xfrm>
            <a:prstGeom prst="flowChartManualInpu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4569038" y="2186188"/>
              <a:ext cx="1109157" cy="648931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5" name="平行四边形 144"/>
          <p:cNvSpPr/>
          <p:nvPr/>
        </p:nvSpPr>
        <p:spPr>
          <a:xfrm>
            <a:off x="6429177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/>
          <p:cNvSpPr/>
          <p:nvPr/>
        </p:nvSpPr>
        <p:spPr>
          <a:xfrm>
            <a:off x="6939544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7" name="平行四边形 146"/>
          <p:cNvSpPr/>
          <p:nvPr/>
        </p:nvSpPr>
        <p:spPr>
          <a:xfrm>
            <a:off x="7449911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/>
          <p:cNvSpPr/>
          <p:nvPr/>
        </p:nvSpPr>
        <p:spPr>
          <a:xfrm>
            <a:off x="79602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平行四边形 148"/>
          <p:cNvSpPr/>
          <p:nvPr/>
        </p:nvSpPr>
        <p:spPr>
          <a:xfrm>
            <a:off x="8981009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平行四边形 149"/>
          <p:cNvSpPr/>
          <p:nvPr/>
        </p:nvSpPr>
        <p:spPr>
          <a:xfrm>
            <a:off x="94913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平行四边形 150"/>
          <p:cNvSpPr/>
          <p:nvPr/>
        </p:nvSpPr>
        <p:spPr>
          <a:xfrm>
            <a:off x="8470642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2" name="平行四边形 151"/>
          <p:cNvSpPr/>
          <p:nvPr/>
        </p:nvSpPr>
        <p:spPr>
          <a:xfrm>
            <a:off x="1000174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平行四边形 152"/>
          <p:cNvSpPr/>
          <p:nvPr/>
        </p:nvSpPr>
        <p:spPr>
          <a:xfrm>
            <a:off x="1051210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流程图: 手动输入 153"/>
          <p:cNvSpPr/>
          <p:nvPr/>
        </p:nvSpPr>
        <p:spPr>
          <a:xfrm rot="5400000" flipH="1">
            <a:off x="5730166" y="2918155"/>
            <a:ext cx="64704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矩形 154"/>
          <p:cNvSpPr/>
          <p:nvPr/>
        </p:nvSpPr>
        <p:spPr>
          <a:xfrm>
            <a:off x="4569038" y="2968236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平行四边形 155"/>
          <p:cNvSpPr/>
          <p:nvPr/>
        </p:nvSpPr>
        <p:spPr>
          <a:xfrm>
            <a:off x="6429177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平行四边形 156"/>
          <p:cNvSpPr/>
          <p:nvPr/>
        </p:nvSpPr>
        <p:spPr>
          <a:xfrm>
            <a:off x="6939544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" name="平行四边形 157"/>
          <p:cNvSpPr/>
          <p:nvPr/>
        </p:nvSpPr>
        <p:spPr>
          <a:xfrm>
            <a:off x="7449911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平行四边形 158"/>
          <p:cNvSpPr/>
          <p:nvPr/>
        </p:nvSpPr>
        <p:spPr>
          <a:xfrm>
            <a:off x="7960275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平行四边形 159"/>
          <p:cNvSpPr/>
          <p:nvPr/>
        </p:nvSpPr>
        <p:spPr>
          <a:xfrm>
            <a:off x="8981009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1" name="平行四边形 160"/>
          <p:cNvSpPr/>
          <p:nvPr/>
        </p:nvSpPr>
        <p:spPr>
          <a:xfrm>
            <a:off x="9491375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平行四边形 161"/>
          <p:cNvSpPr/>
          <p:nvPr/>
        </p:nvSpPr>
        <p:spPr>
          <a:xfrm>
            <a:off x="84706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3" name="平行四边形 162"/>
          <p:cNvSpPr/>
          <p:nvPr/>
        </p:nvSpPr>
        <p:spPr>
          <a:xfrm>
            <a:off x="100017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平行四边形 163"/>
          <p:cNvSpPr/>
          <p:nvPr/>
        </p:nvSpPr>
        <p:spPr>
          <a:xfrm>
            <a:off x="1051210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流程图: 手动输入 164"/>
          <p:cNvSpPr/>
          <p:nvPr/>
        </p:nvSpPr>
        <p:spPr>
          <a:xfrm rot="5400000" flipH="1">
            <a:off x="5729221" y="3730832"/>
            <a:ext cx="64893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矩形 165"/>
          <p:cNvSpPr/>
          <p:nvPr/>
        </p:nvSpPr>
        <p:spPr>
          <a:xfrm>
            <a:off x="4569038" y="3781858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平行四边形 166"/>
          <p:cNvSpPr/>
          <p:nvPr/>
        </p:nvSpPr>
        <p:spPr>
          <a:xfrm>
            <a:off x="6429177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平行四边形 167"/>
          <p:cNvSpPr/>
          <p:nvPr/>
        </p:nvSpPr>
        <p:spPr>
          <a:xfrm>
            <a:off x="6939544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9" name="平行四边形 168"/>
          <p:cNvSpPr/>
          <p:nvPr/>
        </p:nvSpPr>
        <p:spPr>
          <a:xfrm>
            <a:off x="7449911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平行四边形 169"/>
          <p:cNvSpPr/>
          <p:nvPr/>
        </p:nvSpPr>
        <p:spPr>
          <a:xfrm>
            <a:off x="7960275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平行四边形 170"/>
          <p:cNvSpPr/>
          <p:nvPr/>
        </p:nvSpPr>
        <p:spPr>
          <a:xfrm>
            <a:off x="8981009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平行四边形 171"/>
          <p:cNvSpPr/>
          <p:nvPr/>
        </p:nvSpPr>
        <p:spPr>
          <a:xfrm>
            <a:off x="9491375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3" name="平行四边形 172"/>
          <p:cNvSpPr/>
          <p:nvPr/>
        </p:nvSpPr>
        <p:spPr>
          <a:xfrm>
            <a:off x="8470642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4" name="平行四边形 173"/>
          <p:cNvSpPr/>
          <p:nvPr/>
        </p:nvSpPr>
        <p:spPr>
          <a:xfrm>
            <a:off x="1000174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平行四边形 174"/>
          <p:cNvSpPr/>
          <p:nvPr/>
        </p:nvSpPr>
        <p:spPr>
          <a:xfrm>
            <a:off x="1051210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流程图: 手动输入 175"/>
          <p:cNvSpPr/>
          <p:nvPr/>
        </p:nvSpPr>
        <p:spPr>
          <a:xfrm rot="5400000" flipH="1">
            <a:off x="5729221" y="4528197"/>
            <a:ext cx="648931" cy="750983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7" name="矩形 176"/>
          <p:cNvSpPr/>
          <p:nvPr/>
        </p:nvSpPr>
        <p:spPr>
          <a:xfrm>
            <a:off x="4569038" y="4579224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平行四边形 177"/>
          <p:cNvSpPr/>
          <p:nvPr/>
        </p:nvSpPr>
        <p:spPr>
          <a:xfrm>
            <a:off x="6429177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平行四边形 178"/>
          <p:cNvSpPr/>
          <p:nvPr/>
        </p:nvSpPr>
        <p:spPr>
          <a:xfrm>
            <a:off x="6939544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0" name="平行四边形 179"/>
          <p:cNvSpPr/>
          <p:nvPr/>
        </p:nvSpPr>
        <p:spPr>
          <a:xfrm>
            <a:off x="7449911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>
            <a:off x="79602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>
            <a:off x="8981009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平行四边形 182"/>
          <p:cNvSpPr/>
          <p:nvPr/>
        </p:nvSpPr>
        <p:spPr>
          <a:xfrm>
            <a:off x="94913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4" name="平行四边形 183"/>
          <p:cNvSpPr/>
          <p:nvPr/>
        </p:nvSpPr>
        <p:spPr>
          <a:xfrm>
            <a:off x="8470642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5" name="平行四边形 184"/>
          <p:cNvSpPr/>
          <p:nvPr/>
        </p:nvSpPr>
        <p:spPr>
          <a:xfrm>
            <a:off x="1000174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平行四边形 185"/>
          <p:cNvSpPr/>
          <p:nvPr/>
        </p:nvSpPr>
        <p:spPr>
          <a:xfrm>
            <a:off x="1051210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5" name="Freeform 45"/>
          <p:cNvSpPr>
            <a:spLocks noEditPoints="1"/>
          </p:cNvSpPr>
          <p:nvPr/>
        </p:nvSpPr>
        <p:spPr bwMode="black">
          <a:xfrm>
            <a:off x="1444229" y="2356813"/>
            <a:ext cx="770908" cy="831430"/>
          </a:xfrm>
          <a:custGeom>
            <a:avLst/>
            <a:gdLst>
              <a:gd name="T0" fmla="*/ 135 w 140"/>
              <a:gd name="T1" fmla="*/ 85 h 151"/>
              <a:gd name="T2" fmla="*/ 140 w 140"/>
              <a:gd name="T3" fmla="*/ 96 h 151"/>
              <a:gd name="T4" fmla="*/ 134 w 140"/>
              <a:gd name="T5" fmla="*/ 106 h 151"/>
              <a:gd name="T6" fmla="*/ 137 w 140"/>
              <a:gd name="T7" fmla="*/ 117 h 151"/>
              <a:gd name="T8" fmla="*/ 129 w 140"/>
              <a:gd name="T9" fmla="*/ 128 h 151"/>
              <a:gd name="T10" fmla="*/ 128 w 140"/>
              <a:gd name="T11" fmla="*/ 137 h 151"/>
              <a:gd name="T12" fmla="*/ 116 w 140"/>
              <a:gd name="T13" fmla="*/ 148 h 151"/>
              <a:gd name="T14" fmla="*/ 65 w 140"/>
              <a:gd name="T15" fmla="*/ 148 h 151"/>
              <a:gd name="T16" fmla="*/ 33 w 140"/>
              <a:gd name="T17" fmla="*/ 142 h 151"/>
              <a:gd name="T18" fmla="*/ 33 w 140"/>
              <a:gd name="T19" fmla="*/ 82 h 151"/>
              <a:gd name="T20" fmla="*/ 34 w 140"/>
              <a:gd name="T21" fmla="*/ 82 h 151"/>
              <a:gd name="T22" fmla="*/ 34 w 140"/>
              <a:gd name="T23" fmla="*/ 82 h 151"/>
              <a:gd name="T24" fmla="*/ 37 w 140"/>
              <a:gd name="T25" fmla="*/ 82 h 151"/>
              <a:gd name="T26" fmla="*/ 60 w 140"/>
              <a:gd name="T27" fmla="*/ 48 h 151"/>
              <a:gd name="T28" fmla="*/ 68 w 140"/>
              <a:gd name="T29" fmla="*/ 39 h 151"/>
              <a:gd name="T30" fmla="*/ 81 w 140"/>
              <a:gd name="T31" fmla="*/ 3 h 151"/>
              <a:gd name="T32" fmla="*/ 97 w 140"/>
              <a:gd name="T33" fmla="*/ 8 h 151"/>
              <a:gd name="T34" fmla="*/ 99 w 140"/>
              <a:gd name="T35" fmla="*/ 35 h 151"/>
              <a:gd name="T36" fmla="*/ 90 w 140"/>
              <a:gd name="T37" fmla="*/ 60 h 151"/>
              <a:gd name="T38" fmla="*/ 130 w 140"/>
              <a:gd name="T39" fmla="*/ 62 h 151"/>
              <a:gd name="T40" fmla="*/ 140 w 140"/>
              <a:gd name="T41" fmla="*/ 77 h 151"/>
              <a:gd name="T42" fmla="*/ 135 w 140"/>
              <a:gd name="T43" fmla="*/ 85 h 151"/>
              <a:gd name="T44" fmla="*/ 30 w 140"/>
              <a:gd name="T45" fmla="*/ 137 h 151"/>
              <a:gd name="T46" fmla="*/ 30 w 140"/>
              <a:gd name="T47" fmla="*/ 137 h 151"/>
              <a:gd name="T48" fmla="*/ 30 w 140"/>
              <a:gd name="T49" fmla="*/ 82 h 151"/>
              <a:gd name="T50" fmla="*/ 23 w 140"/>
              <a:gd name="T51" fmla="*/ 76 h 151"/>
              <a:gd name="T52" fmla="*/ 7 w 140"/>
              <a:gd name="T53" fmla="*/ 76 h 151"/>
              <a:gd name="T54" fmla="*/ 0 w 140"/>
              <a:gd name="T55" fmla="*/ 82 h 151"/>
              <a:gd name="T56" fmla="*/ 0 w 140"/>
              <a:gd name="T57" fmla="*/ 137 h 151"/>
              <a:gd name="T58" fmla="*/ 7 w 140"/>
              <a:gd name="T59" fmla="*/ 144 h 151"/>
              <a:gd name="T60" fmla="*/ 23 w 140"/>
              <a:gd name="T61" fmla="*/ 144 h 151"/>
              <a:gd name="T62" fmla="*/ 30 w 140"/>
              <a:gd name="T63" fmla="*/ 13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>
              <a:solidFill>
                <a:srgbClr val="FFFFFF"/>
              </a:solidFill>
            </a:endParaRPr>
          </a:p>
        </p:txBody>
      </p:sp>
      <p:sp>
        <p:nvSpPr>
          <p:cNvPr id="196" name="Freeform 35"/>
          <p:cNvSpPr>
            <a:spLocks/>
          </p:cNvSpPr>
          <p:nvPr/>
        </p:nvSpPr>
        <p:spPr bwMode="black">
          <a:xfrm>
            <a:off x="3087040" y="2356813"/>
            <a:ext cx="869946" cy="894499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1717" tIns="30858" rIns="61717" bIns="30858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7" name="Rounded Rectangle 29"/>
          <p:cNvSpPr/>
          <p:nvPr/>
        </p:nvSpPr>
        <p:spPr bwMode="black">
          <a:xfrm>
            <a:off x="1646021" y="4059187"/>
            <a:ext cx="446561" cy="909371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37" fontAlgn="base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8" name="Cross 10"/>
          <p:cNvSpPr/>
          <p:nvPr/>
        </p:nvSpPr>
        <p:spPr bwMode="auto">
          <a:xfrm>
            <a:off x="3156578" y="4106323"/>
            <a:ext cx="816558" cy="816346"/>
          </a:xfrm>
          <a:prstGeom prst="plus">
            <a:avLst>
              <a:gd name="adj" fmla="val 37222"/>
            </a:avLst>
          </a:pr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685609" fontAlgn="base">
              <a:spcBef>
                <a:spcPct val="0"/>
              </a:spcBef>
              <a:spcAft>
                <a:spcPct val="0"/>
              </a:spcAft>
            </a:pPr>
            <a:endParaRPr lang="en-US" sz="1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855594" y="2175457"/>
            <a:ext cx="1098378" cy="548954"/>
            <a:chOff x="-39660" y="798112"/>
            <a:chExt cx="1098378" cy="548954"/>
          </a:xfrm>
        </p:grpSpPr>
        <p:sp>
          <p:nvSpPr>
            <p:cNvPr id="199" name="文本框 198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0" name="文本框 199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1" name="组合 200"/>
          <p:cNvGrpSpPr/>
          <p:nvPr/>
        </p:nvGrpSpPr>
        <p:grpSpPr>
          <a:xfrm>
            <a:off x="4859255" y="3003618"/>
            <a:ext cx="1098378" cy="548954"/>
            <a:chOff x="-39660" y="798112"/>
            <a:chExt cx="1098378" cy="548954"/>
          </a:xfrm>
        </p:grpSpPr>
        <p:sp>
          <p:nvSpPr>
            <p:cNvPr id="202" name="文本框 201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" name="组合 203"/>
          <p:cNvGrpSpPr/>
          <p:nvPr/>
        </p:nvGrpSpPr>
        <p:grpSpPr>
          <a:xfrm>
            <a:off x="4888020" y="3800804"/>
            <a:ext cx="1098378" cy="548954"/>
            <a:chOff x="-39660" y="798112"/>
            <a:chExt cx="1098378" cy="548954"/>
          </a:xfrm>
        </p:grpSpPr>
        <p:sp>
          <p:nvSpPr>
            <p:cNvPr id="205" name="文本框 204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2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组合 206"/>
          <p:cNvGrpSpPr/>
          <p:nvPr/>
        </p:nvGrpSpPr>
        <p:grpSpPr>
          <a:xfrm>
            <a:off x="4891681" y="4628965"/>
            <a:ext cx="1098378" cy="548954"/>
            <a:chOff x="-39660" y="798112"/>
            <a:chExt cx="1098378" cy="548954"/>
          </a:xfrm>
        </p:grpSpPr>
        <p:sp>
          <p:nvSpPr>
            <p:cNvPr id="208" name="文本框 207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9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11" name="组合 210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18" name="矩形 217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9" name="文本框 218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20" name="文本框 219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21" name="直接连接符 22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椭圆 22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23" name="文本框 22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2" name="组合 21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16" name="六边形 215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7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13" name="组合 21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14" name="六边形 213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5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29870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844015" y="2001615"/>
            <a:ext cx="1601345" cy="1601345"/>
            <a:chOff x="967381" y="1423683"/>
            <a:chExt cx="1828530" cy="1828530"/>
          </a:xfrm>
        </p:grpSpPr>
        <p:sp>
          <p:nvSpPr>
            <p:cNvPr id="127" name="椭圆 12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矩形 12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0" name="组合 129"/>
          <p:cNvGrpSpPr/>
          <p:nvPr/>
        </p:nvGrpSpPr>
        <p:grpSpPr>
          <a:xfrm>
            <a:off x="1790773" y="3921416"/>
            <a:ext cx="1601345" cy="1601345"/>
            <a:chOff x="967381" y="1423683"/>
            <a:chExt cx="1828530" cy="1828530"/>
          </a:xfrm>
        </p:grpSpPr>
        <p:sp>
          <p:nvSpPr>
            <p:cNvPr id="131" name="椭圆 130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矩形 131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6287707" y="2011083"/>
            <a:ext cx="1601345" cy="1601345"/>
            <a:chOff x="967381" y="1423683"/>
            <a:chExt cx="1828530" cy="1828530"/>
          </a:xfrm>
        </p:grpSpPr>
        <p:sp>
          <p:nvSpPr>
            <p:cNvPr id="134" name="椭圆 133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6234465" y="3930884"/>
            <a:ext cx="1601345" cy="1601345"/>
            <a:chOff x="967381" y="1423683"/>
            <a:chExt cx="1828530" cy="1828530"/>
          </a:xfrm>
        </p:grpSpPr>
        <p:sp>
          <p:nvSpPr>
            <p:cNvPr id="137" name="椭圆 13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1" name="Freeform 11"/>
          <p:cNvSpPr>
            <a:spLocks noEditPoints="1"/>
          </p:cNvSpPr>
          <p:nvPr/>
        </p:nvSpPr>
        <p:spPr bwMode="black">
          <a:xfrm>
            <a:off x="2290553" y="2368244"/>
            <a:ext cx="712790" cy="712419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0" tIns="41153" rIns="82305" bIns="41153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92" name="Group 16"/>
          <p:cNvGrpSpPr/>
          <p:nvPr/>
        </p:nvGrpSpPr>
        <p:grpSpPr>
          <a:xfrm>
            <a:off x="2285794" y="4345639"/>
            <a:ext cx="696976" cy="694038"/>
            <a:chOff x="7988334" y="5213829"/>
            <a:chExt cx="481488" cy="479583"/>
          </a:xfrm>
          <a:solidFill>
            <a:srgbClr val="EE3551"/>
          </a:solidFill>
        </p:grpSpPr>
        <p:sp>
          <p:nvSpPr>
            <p:cNvPr id="193" name="Rectangle 17"/>
            <p:cNvSpPr/>
            <p:nvPr/>
          </p:nvSpPr>
          <p:spPr bwMode="auto">
            <a:xfrm>
              <a:off x="7988334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4" name="Rectangle 18"/>
            <p:cNvSpPr/>
            <p:nvPr/>
          </p:nvSpPr>
          <p:spPr bwMode="auto">
            <a:xfrm>
              <a:off x="8243126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19"/>
            <p:cNvSpPr/>
            <p:nvPr/>
          </p:nvSpPr>
          <p:spPr bwMode="auto">
            <a:xfrm>
              <a:off x="7988334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0"/>
            <p:cNvSpPr/>
            <p:nvPr/>
          </p:nvSpPr>
          <p:spPr bwMode="auto">
            <a:xfrm>
              <a:off x="8243126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12" name="Freeform 22"/>
          <p:cNvSpPr>
            <a:spLocks noEditPoints="1"/>
          </p:cNvSpPr>
          <p:nvPr/>
        </p:nvSpPr>
        <p:spPr bwMode="black">
          <a:xfrm>
            <a:off x="6746946" y="2370518"/>
            <a:ext cx="780675" cy="834295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13" name="Freeform 23"/>
          <p:cNvSpPr>
            <a:spLocks noEditPoints="1"/>
          </p:cNvSpPr>
          <p:nvPr/>
        </p:nvSpPr>
        <p:spPr bwMode="black">
          <a:xfrm>
            <a:off x="6763872" y="4367182"/>
            <a:ext cx="663380" cy="660481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8" name="组合 47"/>
          <p:cNvGrpSpPr/>
          <p:nvPr/>
        </p:nvGrpSpPr>
        <p:grpSpPr>
          <a:xfrm>
            <a:off x="3523445" y="1922947"/>
            <a:ext cx="2415527" cy="1567274"/>
            <a:chOff x="3312431" y="1899501"/>
            <a:chExt cx="2415527" cy="1567274"/>
          </a:xfrm>
        </p:grpSpPr>
        <p:cxnSp>
          <p:nvCxnSpPr>
            <p:cNvPr id="214" name="直接连接符 213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Intelligence flows back into machines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6" name="组合 215"/>
          <p:cNvGrpSpPr/>
          <p:nvPr/>
        </p:nvGrpSpPr>
        <p:grpSpPr>
          <a:xfrm>
            <a:off x="3515803" y="3855262"/>
            <a:ext cx="2415527" cy="1567274"/>
            <a:chOff x="3312431" y="1899501"/>
            <a:chExt cx="2415527" cy="1567274"/>
          </a:xfrm>
        </p:grpSpPr>
        <p:cxnSp>
          <p:nvCxnSpPr>
            <p:cNvPr id="217" name="直接连接符 216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60"/>
            <p:cNvSpPr txBox="1"/>
            <p:nvPr/>
          </p:nvSpPr>
          <p:spPr>
            <a:xfrm>
              <a:off x="3317737" y="1899501"/>
              <a:ext cx="2344589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Extraction and storage of proprietary machine data stream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19" name="矩形 218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0" name="组合 219"/>
          <p:cNvGrpSpPr/>
          <p:nvPr/>
        </p:nvGrpSpPr>
        <p:grpSpPr>
          <a:xfrm>
            <a:off x="7988231" y="1923768"/>
            <a:ext cx="2415527" cy="1567274"/>
            <a:chOff x="3312431" y="1899501"/>
            <a:chExt cx="2415527" cy="1567274"/>
          </a:xfrm>
        </p:grpSpPr>
        <p:cxnSp>
          <p:nvCxnSpPr>
            <p:cNvPr id="221" name="直接连接符 220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PHYSICAL AND HUMAN NETWORK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3" name="矩形 222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4" name="组合 223"/>
          <p:cNvGrpSpPr/>
          <p:nvPr/>
        </p:nvGrpSpPr>
        <p:grpSpPr>
          <a:xfrm>
            <a:off x="7980589" y="3856083"/>
            <a:ext cx="2415527" cy="1567274"/>
            <a:chOff x="3312431" y="1899501"/>
            <a:chExt cx="2415527" cy="1567274"/>
          </a:xfrm>
        </p:grpSpPr>
        <p:cxnSp>
          <p:nvCxnSpPr>
            <p:cNvPr id="225" name="直接连接符 224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TextBox 60"/>
            <p:cNvSpPr txBox="1"/>
            <p:nvPr/>
          </p:nvSpPr>
          <p:spPr>
            <a:xfrm>
              <a:off x="3317737" y="1899501"/>
              <a:ext cx="2262004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Machine-based algorithms and data analysi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7" name="矩形 22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8" name="组合 22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29" name="组合 22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36" name="矩形 23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7" name="文本框 23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38" name="文本框 23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39" name="直接连接符 23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椭圆 23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41" name="文本框 24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0" name="组合 22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34" name="六边形 23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31" name="组合 23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32" name="六边形 23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2197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0" name="TextBox 80"/>
          <p:cNvSpPr txBox="1"/>
          <p:nvPr/>
        </p:nvSpPr>
        <p:spPr>
          <a:xfrm>
            <a:off x="819914" y="6522256"/>
            <a:ext cx="1655890" cy="65695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MOTE AND CENTRALIZED DATA VISUALIZATION</a:t>
            </a:r>
          </a:p>
        </p:txBody>
      </p:sp>
      <p:cxnSp>
        <p:nvCxnSpPr>
          <p:cNvPr id="112" name="直接连接符 111"/>
          <p:cNvCxnSpPr/>
          <p:nvPr/>
        </p:nvCxnSpPr>
        <p:spPr>
          <a:xfrm>
            <a:off x="4955129" y="3473635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9176462" y="3354365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58"/>
          <p:cNvSpPr txBox="1"/>
          <p:nvPr/>
        </p:nvSpPr>
        <p:spPr>
          <a:xfrm>
            <a:off x="5332135" y="3092907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grpSp>
        <p:nvGrpSpPr>
          <p:cNvPr id="56" name="组合 55"/>
          <p:cNvGrpSpPr/>
          <p:nvPr/>
        </p:nvGrpSpPr>
        <p:grpSpPr>
          <a:xfrm flipH="1">
            <a:off x="1568692" y="1873016"/>
            <a:ext cx="3495809" cy="3157373"/>
            <a:chOff x="7232766" y="2054299"/>
            <a:chExt cx="3495809" cy="3157373"/>
          </a:xfrm>
        </p:grpSpPr>
        <p:sp>
          <p:nvSpPr>
            <p:cNvPr id="48" name="椭圆 47"/>
            <p:cNvSpPr/>
            <p:nvPr/>
          </p:nvSpPr>
          <p:spPr>
            <a:xfrm>
              <a:off x="7816829" y="2054299"/>
              <a:ext cx="1439020" cy="1439020"/>
            </a:xfrm>
            <a:prstGeom prst="ellipse">
              <a:avLst/>
            </a:prstGeom>
            <a:solidFill>
              <a:srgbClr val="E9F2DF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>
              <a:off x="9289555" y="2955105"/>
              <a:ext cx="1439020" cy="1439020"/>
            </a:xfrm>
            <a:prstGeom prst="ellipse">
              <a:avLst/>
            </a:prstGeom>
            <a:solidFill>
              <a:srgbClr val="EEFDFD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7928261" y="3772652"/>
              <a:ext cx="1439020" cy="1439020"/>
            </a:xfrm>
            <a:prstGeom prst="ellipse">
              <a:avLst/>
            </a:prstGeom>
            <a:solidFill>
              <a:srgbClr val="F3F3F3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>
              <a:off x="7232766" y="3260098"/>
              <a:ext cx="748093" cy="748093"/>
            </a:xfrm>
            <a:prstGeom prst="ellipse">
              <a:avLst/>
            </a:prstGeom>
            <a:solidFill>
              <a:srgbClr val="FFF7C7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>
              <a:off x="9419502" y="4504730"/>
              <a:ext cx="431663" cy="431663"/>
            </a:xfrm>
            <a:prstGeom prst="ellipse">
              <a:avLst/>
            </a:prstGeom>
            <a:solidFill>
              <a:srgbClr val="F2F9F9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>
              <a:off x="9403512" y="2333002"/>
              <a:ext cx="431663" cy="431663"/>
            </a:xfrm>
            <a:prstGeom prst="ellipse">
              <a:avLst/>
            </a:prstGeom>
            <a:solidFill>
              <a:srgbClr val="F8F7E0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43" name="矩形 3842"/>
          <p:cNvSpPr/>
          <p:nvPr/>
        </p:nvSpPr>
        <p:spPr>
          <a:xfrm>
            <a:off x="5356643" y="3523113"/>
            <a:ext cx="6096000" cy="17748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onnected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ache - device loss/recreation is a non-event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Device state (apps &amp; users) is stored in a cloud (default is SkyDrive)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pp &amp; User state is transparently accessible from any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 device does not have to have a user interface or even users (sensors, etc.)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pic>
        <p:nvPicPr>
          <p:cNvPr id="3844" name="图片 38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960" y="2115875"/>
            <a:ext cx="901236" cy="901236"/>
          </a:xfrm>
          <a:prstGeom prst="rect">
            <a:avLst/>
          </a:prstGeom>
        </p:spPr>
      </p:pic>
      <p:pic>
        <p:nvPicPr>
          <p:cNvPr id="3845" name="图片 38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290" y="3817452"/>
            <a:ext cx="984465" cy="984465"/>
          </a:xfrm>
          <a:prstGeom prst="rect">
            <a:avLst/>
          </a:prstGeom>
        </p:spPr>
      </p:pic>
      <p:pic>
        <p:nvPicPr>
          <p:cNvPr id="3846" name="图片 384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462" y="3033792"/>
            <a:ext cx="914469" cy="914469"/>
          </a:xfrm>
          <a:prstGeom prst="rect">
            <a:avLst/>
          </a:prstGeom>
        </p:spPr>
      </p:pic>
      <p:pic>
        <p:nvPicPr>
          <p:cNvPr id="3847" name="图片 3846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915" y="3193757"/>
            <a:ext cx="499159" cy="499159"/>
          </a:xfrm>
          <a:prstGeom prst="rect">
            <a:avLst/>
          </a:prstGeom>
        </p:spPr>
      </p:pic>
      <p:pic>
        <p:nvPicPr>
          <p:cNvPr id="3848" name="图片 3847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548" y="2226533"/>
            <a:ext cx="286828" cy="286828"/>
          </a:xfrm>
          <a:prstGeom prst="rect">
            <a:avLst/>
          </a:prstGeom>
        </p:spPr>
      </p:pic>
      <p:pic>
        <p:nvPicPr>
          <p:cNvPr id="3849" name="图片 38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53" y="4388249"/>
            <a:ext cx="315223" cy="315223"/>
          </a:xfrm>
          <a:prstGeom prst="rect">
            <a:avLst/>
          </a:prstGeom>
        </p:spPr>
      </p:pic>
      <p:grpSp>
        <p:nvGrpSpPr>
          <p:cNvPr id="142" name="组合 14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3" name="组合 14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0" name="矩形 149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椭圆 153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4" name="组合 14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8" name="六边形 147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9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5" name="组合 14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6" name="六边形 14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97966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5920" y="1807628"/>
            <a:ext cx="3027428" cy="4128455"/>
            <a:chOff x="647529" y="1264920"/>
            <a:chExt cx="3497751" cy="4769827"/>
          </a:xfrm>
        </p:grpSpPr>
        <p:sp>
          <p:nvSpPr>
            <p:cNvPr id="7" name="矩形 6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104" name="矩形 10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等腰三角形 111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41" name="Group 2"/>
          <p:cNvGrpSpPr/>
          <p:nvPr/>
        </p:nvGrpSpPr>
        <p:grpSpPr>
          <a:xfrm flipH="1">
            <a:off x="1244180" y="2911860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2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6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7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8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9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0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1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2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3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4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5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6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7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8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9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0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1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2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3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4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5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6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7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8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9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0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1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2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3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4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5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6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7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8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9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0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1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2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3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4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5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6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7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8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9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0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1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2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3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4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5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6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7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8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9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0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1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2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3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4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5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6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7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8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9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0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1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2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3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4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5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6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7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8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9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0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1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2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3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4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5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6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7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8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9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0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1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2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3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4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5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6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7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8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9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0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1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2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3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4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5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6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7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8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9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0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1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2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3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4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5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6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7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8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9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0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1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2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3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4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5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6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7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8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9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0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1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2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3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4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5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6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7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8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19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0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1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2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3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4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5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6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7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8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9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0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1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2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3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4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5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6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7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8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9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0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1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2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3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4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5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6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7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8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9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0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1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2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3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4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5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6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7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8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9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0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1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2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3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4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5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6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7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68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9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0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1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2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3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4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5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6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7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8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9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0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1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2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3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4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5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6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7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8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9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0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1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2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3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4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5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6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7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8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9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0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1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2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3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4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5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6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7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8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9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0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1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2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3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4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5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6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7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8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9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0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1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2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3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4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5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6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7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8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9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0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1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2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3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4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5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6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7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8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9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0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1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2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3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4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5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6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7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8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9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0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1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2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3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4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5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6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7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8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9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0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1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2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3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4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5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6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7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8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9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0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1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2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3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4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5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6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7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8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9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0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1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2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3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4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5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6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7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8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9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0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1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2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3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4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5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6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7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8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9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0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1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2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3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4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5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6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7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8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9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0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1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2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3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4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5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6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7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8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9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0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1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2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3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4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5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6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7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8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9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0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1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2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3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4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5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6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7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8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9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0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1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2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3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4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5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6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7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8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9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0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1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2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3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4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5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6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7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8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9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0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1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2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3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4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5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6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7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8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9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0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1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2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3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4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5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6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7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8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9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0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1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2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3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4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5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6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7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8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9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0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1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2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3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4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5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6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7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8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9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0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1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2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3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4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5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6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7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8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9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0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1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2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3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4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5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6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7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8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9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0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1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2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3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4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5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6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7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8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9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0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1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2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3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4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5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6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7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8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9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0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1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2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3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4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5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6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7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8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9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0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1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2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3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4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5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6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7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8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9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0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1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2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3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4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5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6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7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8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9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0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1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2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3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4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5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6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7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8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9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0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1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2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3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4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5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6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7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8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9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0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1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2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3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4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5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6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7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8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9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0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1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2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3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4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5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6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7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8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9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0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1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2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3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4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5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6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7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8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9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0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1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2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3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4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5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6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7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8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9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0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1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2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3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4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5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6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7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8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9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0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1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2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3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4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5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6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7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8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9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0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1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2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3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4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5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6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7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8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9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0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1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2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3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4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5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6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7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8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9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0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1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2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3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4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5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6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7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8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9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0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1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2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3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4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5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6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7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8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9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0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1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2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3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4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5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6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7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8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9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0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1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2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3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4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5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6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7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8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9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0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1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2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3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4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5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6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7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8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9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0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1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2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3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4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5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6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7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8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9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0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1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2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3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4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5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6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7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8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9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0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1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2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3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4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5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6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7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8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9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0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1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2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3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4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5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6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7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8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9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0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1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2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3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4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5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6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7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8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9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0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1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2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3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4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5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6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7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8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9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0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1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2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3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4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5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6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7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8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9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0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1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2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3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4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5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6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7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8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9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0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1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2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3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4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5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6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7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8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9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0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1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2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3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4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5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6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7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8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9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0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1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2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3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4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5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6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7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8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9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0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1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2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3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4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5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6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7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8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9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0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1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2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3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4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5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6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7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8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9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0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1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2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3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4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5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6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7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8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9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0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1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2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3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4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5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6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7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8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9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0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1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2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3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4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5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6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7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8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9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0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1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2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3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4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5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6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7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8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9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0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1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2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3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4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5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6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7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8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9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0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1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2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3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4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5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6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7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8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9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0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1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2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3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4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5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6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7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8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9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0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1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2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3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4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5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6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7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8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9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0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1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2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3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4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5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6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7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8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9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0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1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2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3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4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5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6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7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8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9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0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1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2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3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4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5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6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7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8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9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0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1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2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3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4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5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6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7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8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9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0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1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2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3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4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5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6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7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8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9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0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1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2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3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4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5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6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7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8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9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0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1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2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3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4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5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6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7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8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9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0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1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2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3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4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5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6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7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8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9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0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1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2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3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4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5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6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7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8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9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0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1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2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3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4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5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6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7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8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9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0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1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2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3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4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5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6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7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8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9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0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1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2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3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4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5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6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7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8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9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0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1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2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3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4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5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6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7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8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9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0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1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2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3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4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5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6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7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8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9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0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1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2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3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4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5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6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7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8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9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0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1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2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84" name="组合 1383"/>
          <p:cNvGrpSpPr/>
          <p:nvPr/>
        </p:nvGrpSpPr>
        <p:grpSpPr>
          <a:xfrm>
            <a:off x="960498" y="1908382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39" name="直接连接符 138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383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85" name="TextBox 57"/>
          <p:cNvSpPr txBox="1"/>
          <p:nvPr/>
        </p:nvSpPr>
        <p:spPr>
          <a:xfrm>
            <a:off x="915125" y="3037694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88" name="TextBox 60"/>
          <p:cNvSpPr txBox="1"/>
          <p:nvPr/>
        </p:nvSpPr>
        <p:spPr>
          <a:xfrm>
            <a:off x="915125" y="2420265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389" name="TextBox 61"/>
          <p:cNvSpPr txBox="1"/>
          <p:nvPr/>
        </p:nvSpPr>
        <p:spPr>
          <a:xfrm>
            <a:off x="915125" y="4435454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391" name="TextBox 81"/>
          <p:cNvSpPr txBox="1"/>
          <p:nvPr/>
        </p:nvSpPr>
        <p:spPr>
          <a:xfrm>
            <a:off x="915125" y="3818026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392" name="TextBox 60"/>
          <p:cNvSpPr txBox="1"/>
          <p:nvPr/>
        </p:nvSpPr>
        <p:spPr>
          <a:xfrm>
            <a:off x="1380798" y="4965342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1395" name="组合 1394"/>
          <p:cNvGrpSpPr/>
          <p:nvPr/>
        </p:nvGrpSpPr>
        <p:grpSpPr>
          <a:xfrm>
            <a:off x="4529170" y="1794773"/>
            <a:ext cx="3027428" cy="4128455"/>
            <a:chOff x="647529" y="1264920"/>
            <a:chExt cx="3497751" cy="4769827"/>
          </a:xfrm>
        </p:grpSpPr>
        <p:sp>
          <p:nvSpPr>
            <p:cNvPr id="2621" name="矩形 2620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2" name="组合 2621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2623" name="矩形 2622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4" name="等腰三角形 2623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96" name="Group 2"/>
          <p:cNvGrpSpPr/>
          <p:nvPr/>
        </p:nvGrpSpPr>
        <p:grpSpPr>
          <a:xfrm flipH="1">
            <a:off x="5007430" y="28990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06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7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8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9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0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1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2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3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4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5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6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7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8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9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0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1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2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3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4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5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6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7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8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9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0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1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2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3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4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5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6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7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8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9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0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1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2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3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4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5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6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7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8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9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0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1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2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3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4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5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6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7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8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9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0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1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2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3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4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5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6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7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8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9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0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1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2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3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4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5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6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7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8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9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0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1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2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3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4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5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6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7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8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9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0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1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2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3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4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5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6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7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8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9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0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1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2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3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4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5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6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7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8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9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0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1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2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3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4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5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6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7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8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9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0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1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2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3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4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5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6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7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8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9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0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1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2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3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4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5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6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7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8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9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0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1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2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3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4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5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6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7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8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9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0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1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2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3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4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5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6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7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8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9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0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1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2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3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4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5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6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7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8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9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0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1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2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3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4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5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6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7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8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9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0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1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2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3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4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5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6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7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8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9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0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1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2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3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4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5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6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7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8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9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0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1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2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3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4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5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6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7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8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9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0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1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2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3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4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5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6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7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8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9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0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1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2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3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4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5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6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7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8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9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0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1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2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3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4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5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6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7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8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9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0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1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2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3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4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5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6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7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8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9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0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1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2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3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4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5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6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7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8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9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0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1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2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3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4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5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6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7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8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9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0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1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2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3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4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5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6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7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8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9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0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1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2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3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4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5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6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7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8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9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0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1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2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3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4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5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6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7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8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9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0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1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2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3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4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5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6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7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8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9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0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1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2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3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4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5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6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7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8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9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0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1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2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3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4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5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6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7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8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9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0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1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2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3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4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5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6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7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8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9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0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1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2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3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4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5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6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7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8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9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0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1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2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3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4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5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6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757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8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9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0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1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2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3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4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5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6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7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8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9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0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1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2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3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4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5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6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7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8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9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0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1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2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3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4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5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6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7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8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9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0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1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2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3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4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5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6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7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8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9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0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1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2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3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4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5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806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7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8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9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0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1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2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3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4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5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6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7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8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9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0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1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2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3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4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5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6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7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8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9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0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1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2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3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4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5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6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7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8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9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0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1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2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3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4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5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6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7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8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9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0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1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2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3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4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5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6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7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8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9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0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1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2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3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4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5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6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7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8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9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0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1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2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3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4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5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6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7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8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9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0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1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2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3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4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5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6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7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8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9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0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1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2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3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4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5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6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7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8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9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0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1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2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3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4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5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6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7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8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9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0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1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2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3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4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5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6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7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8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9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0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1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2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3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4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5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6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7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8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9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0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1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2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3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4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5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6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7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8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9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0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1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2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3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4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5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6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7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8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9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0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1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2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3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4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5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6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7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8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9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0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1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2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3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4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5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6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7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8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9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0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1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2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3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4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5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6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7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8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9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0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1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2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3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4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5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6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7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8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9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0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1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2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3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4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5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6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7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8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9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0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1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2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3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4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5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6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7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8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9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0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1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2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3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4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5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6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7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8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9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0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1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2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3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4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5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6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7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8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9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0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1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2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3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4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5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6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7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8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9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0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1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2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3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4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5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6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7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8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9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0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1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2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3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4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5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6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7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8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9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0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1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2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3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4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5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6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7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8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9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0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1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2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3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4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5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6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7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8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9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0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1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2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3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4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5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6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7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8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9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0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1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2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3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4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5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6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7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8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9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0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1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2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3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4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5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6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7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8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9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0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1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2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3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4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5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6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7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8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9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0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1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2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3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4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5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6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7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8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9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0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1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2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3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4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5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6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7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8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9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0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1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2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3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4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5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6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7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8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9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0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1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2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3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4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5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6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7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8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9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0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1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2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3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4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5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6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7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8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9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0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1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2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3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4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5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6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7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8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9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0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1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2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3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4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5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6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7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8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9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0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1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2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3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4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5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6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7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8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9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0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1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2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3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4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5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6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7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8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9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0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1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2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3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4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5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6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7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8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9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0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1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2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3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4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5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6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7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8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9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0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1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2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3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4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5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6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7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8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9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0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1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2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3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4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5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6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7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8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9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0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1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2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3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4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5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6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7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8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9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0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1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2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3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4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5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6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7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8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9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0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1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2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3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4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5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6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7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8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9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0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1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2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3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4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5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6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7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8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9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0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1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2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3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4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5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6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7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8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9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0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1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2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3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4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5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6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7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8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9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0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1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2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3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4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5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6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7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8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9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0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1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2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3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4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5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6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7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8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9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0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1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2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3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4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5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6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7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8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9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0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1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2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3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4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5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6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7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8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9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0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1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2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3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4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5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6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7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8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9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0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1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2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3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4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5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6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7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8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9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0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1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2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3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4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5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6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7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8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9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0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1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2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3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4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5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6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7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8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9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0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1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2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3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4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5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6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7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8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9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0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1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2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3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4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5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6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7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8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9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0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1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2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3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4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5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6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7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8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9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0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1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2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3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4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5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6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7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8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9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0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1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2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3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4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5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6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7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8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9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0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1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2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3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4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5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6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7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8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9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0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1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2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3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4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5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6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7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8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9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0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1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2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3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4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5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6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7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8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9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0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1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2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3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4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5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6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7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8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9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0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1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2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3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4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5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6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7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8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9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0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1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2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3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4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5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6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7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8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9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0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1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2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3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4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5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6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7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8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9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0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1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2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3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4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5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6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7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8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9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0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1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2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3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4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5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6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7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8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9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0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1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2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3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4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5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6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7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8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9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0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1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2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3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4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5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6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7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8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9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0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1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2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3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4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5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6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7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8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9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0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1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2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3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4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5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6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7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8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9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0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1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2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3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4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5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6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7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8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9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0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1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2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3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4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5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6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7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8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9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0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1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2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3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4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5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6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7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8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9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0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1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2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3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4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5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6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7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8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9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0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1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2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3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4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5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6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7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8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9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0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97" name="组合 1396"/>
          <p:cNvGrpSpPr/>
          <p:nvPr/>
        </p:nvGrpSpPr>
        <p:grpSpPr>
          <a:xfrm>
            <a:off x="4723748" y="18955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403" name="直接连接符 1402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405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98" name="TextBox 57"/>
          <p:cNvSpPr txBox="1"/>
          <p:nvPr/>
        </p:nvSpPr>
        <p:spPr>
          <a:xfrm>
            <a:off x="4678375" y="30248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99" name="TextBox 60"/>
          <p:cNvSpPr txBox="1"/>
          <p:nvPr/>
        </p:nvSpPr>
        <p:spPr>
          <a:xfrm>
            <a:off x="4678375" y="24074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400" name="TextBox 61"/>
          <p:cNvSpPr txBox="1"/>
          <p:nvPr/>
        </p:nvSpPr>
        <p:spPr>
          <a:xfrm>
            <a:off x="4678375" y="44225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401" name="TextBox 81"/>
          <p:cNvSpPr txBox="1"/>
          <p:nvPr/>
        </p:nvSpPr>
        <p:spPr>
          <a:xfrm>
            <a:off x="4678375" y="38051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402" name="TextBox 60"/>
          <p:cNvSpPr txBox="1"/>
          <p:nvPr/>
        </p:nvSpPr>
        <p:spPr>
          <a:xfrm>
            <a:off x="5144048" y="49524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2626" name="组合 2625"/>
          <p:cNvGrpSpPr/>
          <p:nvPr/>
        </p:nvGrpSpPr>
        <p:grpSpPr>
          <a:xfrm>
            <a:off x="8276191" y="1781673"/>
            <a:ext cx="3027428" cy="4128455"/>
            <a:chOff x="647529" y="1264920"/>
            <a:chExt cx="3497751" cy="4769827"/>
          </a:xfrm>
        </p:grpSpPr>
        <p:sp>
          <p:nvSpPr>
            <p:cNvPr id="3852" name="矩形 3851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853" name="组合 3852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3854" name="矩形 385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55" name="等腰三角形 3854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2627" name="Group 2"/>
          <p:cNvGrpSpPr/>
          <p:nvPr/>
        </p:nvGrpSpPr>
        <p:grpSpPr>
          <a:xfrm flipH="1">
            <a:off x="8754451" y="28859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2637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8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9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0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1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2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3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4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5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6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7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8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9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0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1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2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3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4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5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6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7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8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9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0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1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2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3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4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5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6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7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8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9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0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1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2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3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4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5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6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7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8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9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0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1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2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3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4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5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6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7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8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9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0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1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2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3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4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5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6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7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8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9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0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1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2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3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4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5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6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7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8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9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0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1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2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3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4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5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6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7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8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9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0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1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2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3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4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5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6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7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8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9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0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1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2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3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4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5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6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7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8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9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0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1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2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3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4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5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6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7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8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9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0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1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2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3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4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5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6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7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8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9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0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1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2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3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4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5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6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7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8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9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0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1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2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3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4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5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6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7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8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9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0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1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2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3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4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5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6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7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8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9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0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1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2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3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4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5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6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7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8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9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0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1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2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3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4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5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6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7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8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9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0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1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2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3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4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5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6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7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8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9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0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1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2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3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4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5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6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7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8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9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0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1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2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3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4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5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6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7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8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9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0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1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2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3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4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5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6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7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8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9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0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1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2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3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4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5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6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7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8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9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0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1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2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3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4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5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6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7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8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9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0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1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2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3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4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5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6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7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8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9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0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1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2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3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4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5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6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7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8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9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0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1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2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3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4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5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6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7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8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9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0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1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2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3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4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5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6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7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8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9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0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1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2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3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4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5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6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7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8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9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0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1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2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3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4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5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6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7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8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9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0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1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2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3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4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5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6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7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8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9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0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1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2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3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4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5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6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7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8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9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0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1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2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3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4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5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6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7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8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9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0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1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2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3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4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5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6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7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8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9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0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1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2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3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4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5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6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7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8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9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0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1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2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3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4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5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6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7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2988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9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0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1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2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3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4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5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6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7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8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9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0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1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2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3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4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5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6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7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8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9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0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1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2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3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4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5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6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7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8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9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0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1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2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3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4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5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6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7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8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9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0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1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2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3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4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5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6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3037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8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9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0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1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2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3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4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5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6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7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8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9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0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1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2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3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4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5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6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7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8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9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0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1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2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3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4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5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6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7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8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9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0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1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2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3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4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5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6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7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8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9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0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1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2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3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4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5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6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7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8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9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0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1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2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3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4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5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6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7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8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9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0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1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2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3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4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5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6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7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8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9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0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1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2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3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4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5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6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7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8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9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0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1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2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3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4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5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6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7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8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9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0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1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2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3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4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5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6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7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8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9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0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1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2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3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4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5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6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7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8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9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0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1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2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3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4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5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6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7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8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9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0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1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2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3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4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5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6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7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8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9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0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1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2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3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4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5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6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7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8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9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0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1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2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3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4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5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6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7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8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9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0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1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2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3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4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5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6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7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8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9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0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1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2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3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4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5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6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7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8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9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0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1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2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3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4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5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6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7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8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9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0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1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2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3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4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5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6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7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8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9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0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1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2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3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4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5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6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7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8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9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0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1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2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3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4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5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6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7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8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9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0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1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2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3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4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5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6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7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8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9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0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1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2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3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4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5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6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7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8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9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0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1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2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3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4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5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6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7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8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9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0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1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2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3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4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5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6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7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8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9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0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1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2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3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4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5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6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7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8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9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0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1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2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3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4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5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6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7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8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9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0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1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2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3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4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5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6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7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8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9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0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1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2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3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4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5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6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7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8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9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0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1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2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3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4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5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6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7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8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9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0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1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2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3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4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5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6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7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8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9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0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1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2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3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4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5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6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7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8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9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0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1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2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3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4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5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6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7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8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9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0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1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2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3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4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5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6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7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8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9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0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1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2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3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4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5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6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7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8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9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0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1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2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3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4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5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6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7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8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9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0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1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2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3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4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5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6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7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8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9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0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1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2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3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4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5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6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7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8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9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0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1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2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3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4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5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6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7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8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9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0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1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2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3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4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5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6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7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8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9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0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1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2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3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4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5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6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7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8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9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0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1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2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3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4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5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6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7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8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9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0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1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2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3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4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5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6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7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8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9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0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1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2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3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4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5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6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7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8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9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0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1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2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3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4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5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6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7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8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9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0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1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2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3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4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5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6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7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8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9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0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1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2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3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4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5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6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7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8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9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0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1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2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3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4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5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6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7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8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9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0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1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2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3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4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5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6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7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8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9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0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1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2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3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4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5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6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7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8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9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0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1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2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3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4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5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6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7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8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9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0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1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2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3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4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5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6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7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8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9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0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1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2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3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4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5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6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7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8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9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0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1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2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3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4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5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6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7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8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9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0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1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2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3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4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5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6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7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8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9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0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1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2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3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4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5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6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7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8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9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0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1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2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3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4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5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6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7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8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9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0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1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2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3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4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5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6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7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8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9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0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1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2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3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4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5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6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7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8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9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0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1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2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3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4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5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6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7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8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9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0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1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2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3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4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5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6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7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8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9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0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1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2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3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4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5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6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7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8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9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0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1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2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3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4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5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6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7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8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9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0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1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2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3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4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5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6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7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8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9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0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1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2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3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4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5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6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7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8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9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0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1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2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3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4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5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6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7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8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9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0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1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2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3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4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5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6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7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8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9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0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1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2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3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4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5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6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7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8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9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0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1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2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3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4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5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6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7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8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9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0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1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2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3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4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5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6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7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8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9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0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1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2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3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4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5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6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7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8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9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0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1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2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3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4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5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6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7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8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9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0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1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2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3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4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5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6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7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8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9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0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1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2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3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4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5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6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7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8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9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0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1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2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3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4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5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6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7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8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9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0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1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2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3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4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5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6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7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8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9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0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1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2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3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4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5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6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7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8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9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0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1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2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3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4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5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6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7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8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9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0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1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2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3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4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5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6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7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8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9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0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1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2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3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4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5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6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7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8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9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0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1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2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3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4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5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6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7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8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9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0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1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2628" name="组合 2627"/>
          <p:cNvGrpSpPr/>
          <p:nvPr/>
        </p:nvGrpSpPr>
        <p:grpSpPr>
          <a:xfrm>
            <a:off x="8470769" y="18824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2634" name="直接连接符 2633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5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2636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29" name="TextBox 57"/>
          <p:cNvSpPr txBox="1"/>
          <p:nvPr/>
        </p:nvSpPr>
        <p:spPr>
          <a:xfrm>
            <a:off x="8425396" y="30117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2630" name="TextBox 60"/>
          <p:cNvSpPr txBox="1"/>
          <p:nvPr/>
        </p:nvSpPr>
        <p:spPr>
          <a:xfrm>
            <a:off x="8425396" y="23943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2631" name="TextBox 61"/>
          <p:cNvSpPr txBox="1"/>
          <p:nvPr/>
        </p:nvSpPr>
        <p:spPr>
          <a:xfrm>
            <a:off x="8425396" y="44094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2632" name="TextBox 81"/>
          <p:cNvSpPr txBox="1"/>
          <p:nvPr/>
        </p:nvSpPr>
        <p:spPr>
          <a:xfrm>
            <a:off x="8425396" y="37920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2633" name="TextBox 60"/>
          <p:cNvSpPr txBox="1"/>
          <p:nvPr/>
        </p:nvSpPr>
        <p:spPr>
          <a:xfrm>
            <a:off x="8891069" y="49393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3856" name="组合 385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57" name="组合 385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864" name="矩形 386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5" name="文本框 386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866" name="文本框 386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867" name="直接连接符 3866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68" name="椭圆 3867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9" name="文本框 3868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58" name="组合 385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862" name="六边形 386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859" name="组合 385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860" name="六边形 385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44786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37893" y="1971770"/>
            <a:ext cx="3284458" cy="1372306"/>
            <a:chOff x="1591851" y="2047941"/>
            <a:chExt cx="3284458" cy="1372306"/>
          </a:xfrm>
        </p:grpSpPr>
        <p:sp>
          <p:nvSpPr>
            <p:cNvPr id="47" name="矩形 46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57" name="矩形 3856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58" name="组合 3857"/>
          <p:cNvGrpSpPr/>
          <p:nvPr/>
        </p:nvGrpSpPr>
        <p:grpSpPr>
          <a:xfrm>
            <a:off x="4541595" y="1971770"/>
            <a:ext cx="3284458" cy="1372306"/>
            <a:chOff x="1591851" y="2047941"/>
            <a:chExt cx="3284458" cy="1372306"/>
          </a:xfrm>
        </p:grpSpPr>
        <p:sp>
          <p:nvSpPr>
            <p:cNvPr id="3859" name="矩形 3858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0" name="矩形 3859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1" name="组合 3860"/>
          <p:cNvGrpSpPr/>
          <p:nvPr/>
        </p:nvGrpSpPr>
        <p:grpSpPr>
          <a:xfrm>
            <a:off x="8245297" y="1971770"/>
            <a:ext cx="3284458" cy="1372306"/>
            <a:chOff x="1591851" y="2047941"/>
            <a:chExt cx="3284458" cy="1372306"/>
          </a:xfrm>
        </p:grpSpPr>
        <p:sp>
          <p:nvSpPr>
            <p:cNvPr id="3862" name="矩形 3861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3" name="矩形 3862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4" name="组合 3863"/>
          <p:cNvGrpSpPr/>
          <p:nvPr/>
        </p:nvGrpSpPr>
        <p:grpSpPr>
          <a:xfrm>
            <a:off x="813928" y="3712871"/>
            <a:ext cx="3284458" cy="1372306"/>
            <a:chOff x="1591851" y="2047941"/>
            <a:chExt cx="3284458" cy="1372306"/>
          </a:xfrm>
        </p:grpSpPr>
        <p:sp>
          <p:nvSpPr>
            <p:cNvPr id="3865" name="矩形 3864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6" name="矩形 3865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7" name="组合 3866"/>
          <p:cNvGrpSpPr/>
          <p:nvPr/>
        </p:nvGrpSpPr>
        <p:grpSpPr>
          <a:xfrm>
            <a:off x="4517630" y="3712871"/>
            <a:ext cx="3284458" cy="1372306"/>
            <a:chOff x="1591851" y="2047941"/>
            <a:chExt cx="3284458" cy="1372306"/>
          </a:xfrm>
        </p:grpSpPr>
        <p:sp>
          <p:nvSpPr>
            <p:cNvPr id="3868" name="矩形 3867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9" name="矩形 3868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70" name="组合 3869"/>
          <p:cNvGrpSpPr/>
          <p:nvPr/>
        </p:nvGrpSpPr>
        <p:grpSpPr>
          <a:xfrm>
            <a:off x="8221332" y="3712871"/>
            <a:ext cx="3284458" cy="1372306"/>
            <a:chOff x="1591851" y="2047941"/>
            <a:chExt cx="3284458" cy="1372306"/>
          </a:xfrm>
        </p:grpSpPr>
        <p:sp>
          <p:nvSpPr>
            <p:cNvPr id="3871" name="矩形 3870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72" name="矩形 3871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73" name="Freeform 79"/>
          <p:cNvSpPr>
            <a:spLocks noEditPoints="1"/>
          </p:cNvSpPr>
          <p:nvPr/>
        </p:nvSpPr>
        <p:spPr bwMode="auto">
          <a:xfrm>
            <a:off x="1201281" y="2438500"/>
            <a:ext cx="487608" cy="448024"/>
          </a:xfrm>
          <a:custGeom>
            <a:avLst/>
            <a:gdLst>
              <a:gd name="T0" fmla="*/ 406 w 413"/>
              <a:gd name="T1" fmla="*/ 0 h 380"/>
              <a:gd name="T2" fmla="*/ 7 w 413"/>
              <a:gd name="T3" fmla="*/ 0 h 380"/>
              <a:gd name="T4" fmla="*/ 0 w 413"/>
              <a:gd name="T5" fmla="*/ 7 h 380"/>
              <a:gd name="T6" fmla="*/ 0 w 413"/>
              <a:gd name="T7" fmla="*/ 273 h 380"/>
              <a:gd name="T8" fmla="*/ 7 w 413"/>
              <a:gd name="T9" fmla="*/ 281 h 380"/>
              <a:gd name="T10" fmla="*/ 133 w 413"/>
              <a:gd name="T11" fmla="*/ 281 h 380"/>
              <a:gd name="T12" fmla="*/ 133 w 413"/>
              <a:gd name="T13" fmla="*/ 332 h 380"/>
              <a:gd name="T14" fmla="*/ 73 w 413"/>
              <a:gd name="T15" fmla="*/ 332 h 380"/>
              <a:gd name="T16" fmla="*/ 65 w 413"/>
              <a:gd name="T17" fmla="*/ 340 h 380"/>
              <a:gd name="T18" fmla="*/ 65 w 413"/>
              <a:gd name="T19" fmla="*/ 373 h 380"/>
              <a:gd name="T20" fmla="*/ 73 w 413"/>
              <a:gd name="T21" fmla="*/ 380 h 380"/>
              <a:gd name="T22" fmla="*/ 339 w 413"/>
              <a:gd name="T23" fmla="*/ 380 h 380"/>
              <a:gd name="T24" fmla="*/ 346 w 413"/>
              <a:gd name="T25" fmla="*/ 373 h 380"/>
              <a:gd name="T26" fmla="*/ 346 w 413"/>
              <a:gd name="T27" fmla="*/ 340 h 380"/>
              <a:gd name="T28" fmla="*/ 339 w 413"/>
              <a:gd name="T29" fmla="*/ 332 h 380"/>
              <a:gd name="T30" fmla="*/ 280 w 413"/>
              <a:gd name="T31" fmla="*/ 332 h 380"/>
              <a:gd name="T32" fmla="*/ 280 w 413"/>
              <a:gd name="T33" fmla="*/ 281 h 380"/>
              <a:gd name="T34" fmla="*/ 406 w 413"/>
              <a:gd name="T35" fmla="*/ 281 h 380"/>
              <a:gd name="T36" fmla="*/ 413 w 413"/>
              <a:gd name="T37" fmla="*/ 273 h 380"/>
              <a:gd name="T38" fmla="*/ 413 w 413"/>
              <a:gd name="T39" fmla="*/ 7 h 380"/>
              <a:gd name="T40" fmla="*/ 406 w 413"/>
              <a:gd name="T41" fmla="*/ 0 h 380"/>
              <a:gd name="T42" fmla="*/ 331 w 413"/>
              <a:gd name="T43" fmla="*/ 366 h 380"/>
              <a:gd name="T44" fmla="*/ 80 w 413"/>
              <a:gd name="T45" fmla="*/ 366 h 380"/>
              <a:gd name="T46" fmla="*/ 80 w 413"/>
              <a:gd name="T47" fmla="*/ 347 h 380"/>
              <a:gd name="T48" fmla="*/ 331 w 413"/>
              <a:gd name="T49" fmla="*/ 347 h 380"/>
              <a:gd name="T50" fmla="*/ 331 w 413"/>
              <a:gd name="T51" fmla="*/ 366 h 380"/>
              <a:gd name="T52" fmla="*/ 266 w 413"/>
              <a:gd name="T53" fmla="*/ 332 h 380"/>
              <a:gd name="T54" fmla="*/ 148 w 413"/>
              <a:gd name="T55" fmla="*/ 332 h 380"/>
              <a:gd name="T56" fmla="*/ 148 w 413"/>
              <a:gd name="T57" fmla="*/ 281 h 380"/>
              <a:gd name="T58" fmla="*/ 266 w 413"/>
              <a:gd name="T59" fmla="*/ 281 h 380"/>
              <a:gd name="T60" fmla="*/ 266 w 413"/>
              <a:gd name="T61" fmla="*/ 332 h 380"/>
              <a:gd name="T62" fmla="*/ 399 w 413"/>
              <a:gd name="T63" fmla="*/ 266 h 380"/>
              <a:gd name="T64" fmla="*/ 15 w 413"/>
              <a:gd name="T65" fmla="*/ 266 h 380"/>
              <a:gd name="T66" fmla="*/ 15 w 413"/>
              <a:gd name="T67" fmla="*/ 15 h 380"/>
              <a:gd name="T68" fmla="*/ 399 w 413"/>
              <a:gd name="T69" fmla="*/ 15 h 380"/>
              <a:gd name="T70" fmla="*/ 399 w 413"/>
              <a:gd name="T71" fmla="*/ 266 h 380"/>
              <a:gd name="T72" fmla="*/ 40 w 413"/>
              <a:gd name="T73" fmla="*/ 247 h 380"/>
              <a:gd name="T74" fmla="*/ 373 w 413"/>
              <a:gd name="T75" fmla="*/ 247 h 380"/>
              <a:gd name="T76" fmla="*/ 381 w 413"/>
              <a:gd name="T77" fmla="*/ 240 h 380"/>
              <a:gd name="T78" fmla="*/ 381 w 413"/>
              <a:gd name="T79" fmla="*/ 41 h 380"/>
              <a:gd name="T80" fmla="*/ 373 w 413"/>
              <a:gd name="T81" fmla="*/ 33 h 380"/>
              <a:gd name="T82" fmla="*/ 40 w 413"/>
              <a:gd name="T83" fmla="*/ 33 h 380"/>
              <a:gd name="T84" fmla="*/ 33 w 413"/>
              <a:gd name="T85" fmla="*/ 41 h 380"/>
              <a:gd name="T86" fmla="*/ 33 w 413"/>
              <a:gd name="T87" fmla="*/ 240 h 380"/>
              <a:gd name="T88" fmla="*/ 40 w 413"/>
              <a:gd name="T89" fmla="*/ 247 h 380"/>
              <a:gd name="T90" fmla="*/ 47 w 413"/>
              <a:gd name="T91" fmla="*/ 48 h 380"/>
              <a:gd name="T92" fmla="*/ 366 w 413"/>
              <a:gd name="T93" fmla="*/ 48 h 380"/>
              <a:gd name="T94" fmla="*/ 366 w 413"/>
              <a:gd name="T95" fmla="*/ 233 h 380"/>
              <a:gd name="T96" fmla="*/ 47 w 413"/>
              <a:gd name="T97" fmla="*/ 233 h 380"/>
              <a:gd name="T98" fmla="*/ 47 w 413"/>
              <a:gd name="T99" fmla="*/ 48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380">
                <a:moveTo>
                  <a:pt x="40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77"/>
                  <a:pt x="3" y="281"/>
                  <a:pt x="7" y="281"/>
                </a:cubicBezTo>
                <a:cubicBezTo>
                  <a:pt x="133" y="281"/>
                  <a:pt x="133" y="281"/>
                  <a:pt x="133" y="28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69" y="332"/>
                  <a:pt x="65" y="336"/>
                  <a:pt x="65" y="340"/>
                </a:cubicBezTo>
                <a:cubicBezTo>
                  <a:pt x="65" y="373"/>
                  <a:pt x="65" y="373"/>
                  <a:pt x="65" y="373"/>
                </a:cubicBezTo>
                <a:cubicBezTo>
                  <a:pt x="65" y="377"/>
                  <a:pt x="69" y="380"/>
                  <a:pt x="73" y="380"/>
                </a:cubicBezTo>
                <a:cubicBezTo>
                  <a:pt x="339" y="380"/>
                  <a:pt x="339" y="380"/>
                  <a:pt x="339" y="380"/>
                </a:cubicBezTo>
                <a:cubicBezTo>
                  <a:pt x="343" y="380"/>
                  <a:pt x="346" y="377"/>
                  <a:pt x="346" y="373"/>
                </a:cubicBezTo>
                <a:cubicBezTo>
                  <a:pt x="346" y="340"/>
                  <a:pt x="346" y="340"/>
                  <a:pt x="346" y="340"/>
                </a:cubicBezTo>
                <a:cubicBezTo>
                  <a:pt x="346" y="336"/>
                  <a:pt x="343" y="332"/>
                  <a:pt x="339" y="332"/>
                </a:cubicBezTo>
                <a:cubicBezTo>
                  <a:pt x="280" y="332"/>
                  <a:pt x="280" y="332"/>
                  <a:pt x="280" y="33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406" y="281"/>
                  <a:pt x="406" y="281"/>
                  <a:pt x="406" y="281"/>
                </a:cubicBezTo>
                <a:cubicBezTo>
                  <a:pt x="410" y="281"/>
                  <a:pt x="413" y="277"/>
                  <a:pt x="413" y="273"/>
                </a:cubicBezTo>
                <a:cubicBezTo>
                  <a:pt x="413" y="7"/>
                  <a:pt x="413" y="7"/>
                  <a:pt x="413" y="7"/>
                </a:cubicBezTo>
                <a:cubicBezTo>
                  <a:pt x="413" y="3"/>
                  <a:pt x="410" y="0"/>
                  <a:pt x="406" y="0"/>
                </a:cubicBezTo>
                <a:close/>
                <a:moveTo>
                  <a:pt x="331" y="366"/>
                </a:moveTo>
                <a:cubicBezTo>
                  <a:pt x="80" y="366"/>
                  <a:pt x="80" y="366"/>
                  <a:pt x="80" y="366"/>
                </a:cubicBezTo>
                <a:cubicBezTo>
                  <a:pt x="80" y="347"/>
                  <a:pt x="80" y="347"/>
                  <a:pt x="80" y="347"/>
                </a:cubicBezTo>
                <a:cubicBezTo>
                  <a:pt x="331" y="347"/>
                  <a:pt x="331" y="347"/>
                  <a:pt x="331" y="347"/>
                </a:cubicBezTo>
                <a:lnTo>
                  <a:pt x="331" y="366"/>
                </a:lnTo>
                <a:close/>
                <a:moveTo>
                  <a:pt x="266" y="332"/>
                </a:moveTo>
                <a:cubicBezTo>
                  <a:pt x="148" y="332"/>
                  <a:pt x="148" y="332"/>
                  <a:pt x="148" y="332"/>
                </a:cubicBezTo>
                <a:cubicBezTo>
                  <a:pt x="148" y="281"/>
                  <a:pt x="148" y="281"/>
                  <a:pt x="148" y="281"/>
                </a:cubicBezTo>
                <a:cubicBezTo>
                  <a:pt x="266" y="281"/>
                  <a:pt x="266" y="281"/>
                  <a:pt x="266" y="281"/>
                </a:cubicBezTo>
                <a:lnTo>
                  <a:pt x="266" y="332"/>
                </a:lnTo>
                <a:close/>
                <a:moveTo>
                  <a:pt x="399" y="266"/>
                </a:moveTo>
                <a:cubicBezTo>
                  <a:pt x="15" y="266"/>
                  <a:pt x="15" y="266"/>
                  <a:pt x="15" y="266"/>
                </a:cubicBezTo>
                <a:cubicBezTo>
                  <a:pt x="15" y="15"/>
                  <a:pt x="15" y="15"/>
                  <a:pt x="15" y="15"/>
                </a:cubicBezTo>
                <a:cubicBezTo>
                  <a:pt x="399" y="15"/>
                  <a:pt x="399" y="15"/>
                  <a:pt x="399" y="15"/>
                </a:cubicBezTo>
                <a:lnTo>
                  <a:pt x="399" y="266"/>
                </a:lnTo>
                <a:close/>
                <a:moveTo>
                  <a:pt x="40" y="247"/>
                </a:moveTo>
                <a:cubicBezTo>
                  <a:pt x="373" y="247"/>
                  <a:pt x="373" y="247"/>
                  <a:pt x="373" y="247"/>
                </a:cubicBezTo>
                <a:cubicBezTo>
                  <a:pt x="377" y="247"/>
                  <a:pt x="381" y="244"/>
                  <a:pt x="381" y="240"/>
                </a:cubicBezTo>
                <a:cubicBezTo>
                  <a:pt x="381" y="41"/>
                  <a:pt x="381" y="41"/>
                  <a:pt x="381" y="41"/>
                </a:cubicBezTo>
                <a:cubicBezTo>
                  <a:pt x="381" y="37"/>
                  <a:pt x="377" y="33"/>
                  <a:pt x="373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36" y="33"/>
                  <a:pt x="33" y="37"/>
                  <a:pt x="33" y="41"/>
                </a:cubicBezTo>
                <a:cubicBezTo>
                  <a:pt x="33" y="240"/>
                  <a:pt x="33" y="240"/>
                  <a:pt x="33" y="240"/>
                </a:cubicBezTo>
                <a:cubicBezTo>
                  <a:pt x="33" y="244"/>
                  <a:pt x="36" y="247"/>
                  <a:pt x="40" y="247"/>
                </a:cubicBezTo>
                <a:close/>
                <a:moveTo>
                  <a:pt x="47" y="48"/>
                </a:moveTo>
                <a:cubicBezTo>
                  <a:pt x="366" y="48"/>
                  <a:pt x="366" y="48"/>
                  <a:pt x="366" y="48"/>
                </a:cubicBezTo>
                <a:cubicBezTo>
                  <a:pt x="366" y="233"/>
                  <a:pt x="366" y="233"/>
                  <a:pt x="366" y="233"/>
                </a:cubicBezTo>
                <a:cubicBezTo>
                  <a:pt x="47" y="233"/>
                  <a:pt x="47" y="233"/>
                  <a:pt x="47" y="233"/>
                </a:cubicBezTo>
                <a:lnTo>
                  <a:pt x="4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4" name="Freeform 69"/>
          <p:cNvSpPr>
            <a:spLocks noEditPoints="1"/>
          </p:cNvSpPr>
          <p:nvPr/>
        </p:nvSpPr>
        <p:spPr bwMode="auto">
          <a:xfrm>
            <a:off x="4965681" y="2369000"/>
            <a:ext cx="331734" cy="488481"/>
          </a:xfrm>
          <a:custGeom>
            <a:avLst/>
            <a:gdLst>
              <a:gd name="T0" fmla="*/ 207 w 281"/>
              <a:gd name="T1" fmla="*/ 0 h 414"/>
              <a:gd name="T2" fmla="*/ 74 w 281"/>
              <a:gd name="T3" fmla="*/ 0 h 414"/>
              <a:gd name="T4" fmla="*/ 0 w 281"/>
              <a:gd name="T5" fmla="*/ 75 h 414"/>
              <a:gd name="T6" fmla="*/ 0 w 281"/>
              <a:gd name="T7" fmla="*/ 340 h 414"/>
              <a:gd name="T8" fmla="*/ 74 w 281"/>
              <a:gd name="T9" fmla="*/ 414 h 414"/>
              <a:gd name="T10" fmla="*/ 207 w 281"/>
              <a:gd name="T11" fmla="*/ 414 h 414"/>
              <a:gd name="T12" fmla="*/ 281 w 281"/>
              <a:gd name="T13" fmla="*/ 340 h 414"/>
              <a:gd name="T14" fmla="*/ 281 w 281"/>
              <a:gd name="T15" fmla="*/ 75 h 414"/>
              <a:gd name="T16" fmla="*/ 207 w 281"/>
              <a:gd name="T17" fmla="*/ 0 h 414"/>
              <a:gd name="T18" fmla="*/ 141 w 281"/>
              <a:gd name="T19" fmla="*/ 151 h 414"/>
              <a:gd name="T20" fmla="*/ 126 w 281"/>
              <a:gd name="T21" fmla="*/ 137 h 414"/>
              <a:gd name="T22" fmla="*/ 126 w 281"/>
              <a:gd name="T23" fmla="*/ 92 h 414"/>
              <a:gd name="T24" fmla="*/ 141 w 281"/>
              <a:gd name="T25" fmla="*/ 78 h 414"/>
              <a:gd name="T26" fmla="*/ 155 w 281"/>
              <a:gd name="T27" fmla="*/ 92 h 414"/>
              <a:gd name="T28" fmla="*/ 155 w 281"/>
              <a:gd name="T29" fmla="*/ 137 h 414"/>
              <a:gd name="T30" fmla="*/ 141 w 281"/>
              <a:gd name="T31" fmla="*/ 151 h 414"/>
              <a:gd name="T32" fmla="*/ 266 w 281"/>
              <a:gd name="T33" fmla="*/ 340 h 414"/>
              <a:gd name="T34" fmla="*/ 207 w 281"/>
              <a:gd name="T35" fmla="*/ 399 h 414"/>
              <a:gd name="T36" fmla="*/ 74 w 281"/>
              <a:gd name="T37" fmla="*/ 399 h 414"/>
              <a:gd name="T38" fmla="*/ 15 w 281"/>
              <a:gd name="T39" fmla="*/ 340 h 414"/>
              <a:gd name="T40" fmla="*/ 15 w 281"/>
              <a:gd name="T41" fmla="*/ 75 h 414"/>
              <a:gd name="T42" fmla="*/ 74 w 281"/>
              <a:gd name="T43" fmla="*/ 15 h 414"/>
              <a:gd name="T44" fmla="*/ 133 w 281"/>
              <a:gd name="T45" fmla="*/ 15 h 414"/>
              <a:gd name="T46" fmla="*/ 133 w 281"/>
              <a:gd name="T47" fmla="*/ 64 h 414"/>
              <a:gd name="T48" fmla="*/ 111 w 281"/>
              <a:gd name="T49" fmla="*/ 92 h 414"/>
              <a:gd name="T50" fmla="*/ 111 w 281"/>
              <a:gd name="T51" fmla="*/ 137 h 414"/>
              <a:gd name="T52" fmla="*/ 133 w 281"/>
              <a:gd name="T53" fmla="*/ 165 h 414"/>
              <a:gd name="T54" fmla="*/ 133 w 281"/>
              <a:gd name="T55" fmla="*/ 208 h 414"/>
              <a:gd name="T56" fmla="*/ 148 w 281"/>
              <a:gd name="T57" fmla="*/ 208 h 414"/>
              <a:gd name="T58" fmla="*/ 148 w 281"/>
              <a:gd name="T59" fmla="*/ 165 h 414"/>
              <a:gd name="T60" fmla="*/ 170 w 281"/>
              <a:gd name="T61" fmla="*/ 137 h 414"/>
              <a:gd name="T62" fmla="*/ 170 w 281"/>
              <a:gd name="T63" fmla="*/ 92 h 414"/>
              <a:gd name="T64" fmla="*/ 148 w 281"/>
              <a:gd name="T65" fmla="*/ 64 h 414"/>
              <a:gd name="T66" fmla="*/ 148 w 281"/>
              <a:gd name="T67" fmla="*/ 15 h 414"/>
              <a:gd name="T68" fmla="*/ 207 w 281"/>
              <a:gd name="T69" fmla="*/ 15 h 414"/>
              <a:gd name="T70" fmla="*/ 266 w 281"/>
              <a:gd name="T71" fmla="*/ 75 h 414"/>
              <a:gd name="T72" fmla="*/ 266 w 281"/>
              <a:gd name="T73" fmla="*/ 34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1" h="414">
                <a:moveTo>
                  <a:pt x="207" y="0"/>
                </a:moveTo>
                <a:cubicBezTo>
                  <a:pt x="74" y="0"/>
                  <a:pt x="74" y="0"/>
                  <a:pt x="74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340"/>
                  <a:pt x="0" y="340"/>
                  <a:pt x="0" y="340"/>
                </a:cubicBezTo>
                <a:cubicBezTo>
                  <a:pt x="0" y="381"/>
                  <a:pt x="34" y="414"/>
                  <a:pt x="74" y="414"/>
                </a:cubicBezTo>
                <a:cubicBezTo>
                  <a:pt x="207" y="414"/>
                  <a:pt x="207" y="414"/>
                  <a:pt x="207" y="414"/>
                </a:cubicBezTo>
                <a:cubicBezTo>
                  <a:pt x="248" y="414"/>
                  <a:pt x="281" y="381"/>
                  <a:pt x="281" y="340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81" y="34"/>
                  <a:pt x="248" y="0"/>
                  <a:pt x="207" y="0"/>
                </a:cubicBezTo>
                <a:close/>
                <a:moveTo>
                  <a:pt x="141" y="151"/>
                </a:moveTo>
                <a:cubicBezTo>
                  <a:pt x="133" y="151"/>
                  <a:pt x="126" y="145"/>
                  <a:pt x="126" y="137"/>
                </a:cubicBezTo>
                <a:cubicBezTo>
                  <a:pt x="126" y="92"/>
                  <a:pt x="126" y="92"/>
                  <a:pt x="126" y="92"/>
                </a:cubicBezTo>
                <a:cubicBezTo>
                  <a:pt x="126" y="84"/>
                  <a:pt x="133" y="78"/>
                  <a:pt x="141" y="78"/>
                </a:cubicBezTo>
                <a:cubicBezTo>
                  <a:pt x="149" y="78"/>
                  <a:pt x="155" y="84"/>
                  <a:pt x="155" y="92"/>
                </a:cubicBezTo>
                <a:cubicBezTo>
                  <a:pt x="155" y="137"/>
                  <a:pt x="155" y="137"/>
                  <a:pt x="155" y="137"/>
                </a:cubicBezTo>
                <a:cubicBezTo>
                  <a:pt x="155" y="145"/>
                  <a:pt x="149" y="151"/>
                  <a:pt x="141" y="151"/>
                </a:cubicBezTo>
                <a:close/>
                <a:moveTo>
                  <a:pt x="266" y="340"/>
                </a:moveTo>
                <a:cubicBezTo>
                  <a:pt x="266" y="373"/>
                  <a:pt x="239" y="399"/>
                  <a:pt x="207" y="399"/>
                </a:cubicBezTo>
                <a:cubicBezTo>
                  <a:pt x="74" y="399"/>
                  <a:pt x="74" y="399"/>
                  <a:pt x="74" y="399"/>
                </a:cubicBezTo>
                <a:cubicBezTo>
                  <a:pt x="42" y="399"/>
                  <a:pt x="15" y="373"/>
                  <a:pt x="15" y="340"/>
                </a:cubicBezTo>
                <a:cubicBezTo>
                  <a:pt x="15" y="75"/>
                  <a:pt x="15" y="75"/>
                  <a:pt x="15" y="75"/>
                </a:cubicBezTo>
                <a:cubicBezTo>
                  <a:pt x="15" y="42"/>
                  <a:pt x="42" y="15"/>
                  <a:pt x="74" y="15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21" y="68"/>
                  <a:pt x="111" y="79"/>
                  <a:pt x="111" y="92"/>
                </a:cubicBezTo>
                <a:cubicBezTo>
                  <a:pt x="111" y="137"/>
                  <a:pt x="111" y="137"/>
                  <a:pt x="111" y="137"/>
                </a:cubicBezTo>
                <a:cubicBezTo>
                  <a:pt x="111" y="150"/>
                  <a:pt x="121" y="162"/>
                  <a:pt x="133" y="165"/>
                </a:cubicBezTo>
                <a:cubicBezTo>
                  <a:pt x="133" y="208"/>
                  <a:pt x="133" y="208"/>
                  <a:pt x="133" y="208"/>
                </a:cubicBezTo>
                <a:cubicBezTo>
                  <a:pt x="148" y="208"/>
                  <a:pt x="148" y="208"/>
                  <a:pt x="148" y="208"/>
                </a:cubicBezTo>
                <a:cubicBezTo>
                  <a:pt x="148" y="165"/>
                  <a:pt x="148" y="165"/>
                  <a:pt x="148" y="165"/>
                </a:cubicBezTo>
                <a:cubicBezTo>
                  <a:pt x="160" y="162"/>
                  <a:pt x="170" y="150"/>
                  <a:pt x="170" y="137"/>
                </a:cubicBezTo>
                <a:cubicBezTo>
                  <a:pt x="170" y="92"/>
                  <a:pt x="170" y="92"/>
                  <a:pt x="170" y="92"/>
                </a:cubicBezTo>
                <a:cubicBezTo>
                  <a:pt x="170" y="79"/>
                  <a:pt x="160" y="68"/>
                  <a:pt x="148" y="64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207" y="15"/>
                  <a:pt x="207" y="15"/>
                  <a:pt x="207" y="15"/>
                </a:cubicBezTo>
                <a:cubicBezTo>
                  <a:pt x="239" y="15"/>
                  <a:pt x="266" y="42"/>
                  <a:pt x="266" y="75"/>
                </a:cubicBezTo>
                <a:lnTo>
                  <a:pt x="266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5" name="Freeform 78"/>
          <p:cNvSpPr>
            <a:spLocks noEditPoints="1"/>
          </p:cNvSpPr>
          <p:nvPr/>
        </p:nvSpPr>
        <p:spPr bwMode="auto">
          <a:xfrm>
            <a:off x="8659243" y="2438839"/>
            <a:ext cx="409671" cy="409565"/>
          </a:xfrm>
          <a:custGeom>
            <a:avLst/>
            <a:gdLst>
              <a:gd name="T0" fmla="*/ 174 w 347"/>
              <a:gd name="T1" fmla="*/ 0 h 347"/>
              <a:gd name="T2" fmla="*/ 0 w 347"/>
              <a:gd name="T3" fmla="*/ 174 h 347"/>
              <a:gd name="T4" fmla="*/ 174 w 347"/>
              <a:gd name="T5" fmla="*/ 347 h 347"/>
              <a:gd name="T6" fmla="*/ 347 w 347"/>
              <a:gd name="T7" fmla="*/ 174 h 347"/>
              <a:gd name="T8" fmla="*/ 174 w 347"/>
              <a:gd name="T9" fmla="*/ 0 h 347"/>
              <a:gd name="T10" fmla="*/ 332 w 347"/>
              <a:gd name="T11" fmla="*/ 166 h 347"/>
              <a:gd name="T12" fmla="*/ 283 w 347"/>
              <a:gd name="T13" fmla="*/ 166 h 347"/>
              <a:gd name="T14" fmla="*/ 231 w 347"/>
              <a:gd name="T15" fmla="*/ 26 h 347"/>
              <a:gd name="T16" fmla="*/ 332 w 347"/>
              <a:gd name="T17" fmla="*/ 166 h 347"/>
              <a:gd name="T18" fmla="*/ 174 w 347"/>
              <a:gd name="T19" fmla="*/ 332 h 347"/>
              <a:gd name="T20" fmla="*/ 147 w 347"/>
              <a:gd name="T21" fmla="*/ 181 h 347"/>
              <a:gd name="T22" fmla="*/ 200 w 347"/>
              <a:gd name="T23" fmla="*/ 181 h 347"/>
              <a:gd name="T24" fmla="*/ 174 w 347"/>
              <a:gd name="T25" fmla="*/ 332 h 347"/>
              <a:gd name="T26" fmla="*/ 147 w 347"/>
              <a:gd name="T27" fmla="*/ 166 h 347"/>
              <a:gd name="T28" fmla="*/ 174 w 347"/>
              <a:gd name="T29" fmla="*/ 15 h 347"/>
              <a:gd name="T30" fmla="*/ 174 w 347"/>
              <a:gd name="T31" fmla="*/ 15 h 347"/>
              <a:gd name="T32" fmla="*/ 200 w 347"/>
              <a:gd name="T33" fmla="*/ 166 h 347"/>
              <a:gd name="T34" fmla="*/ 147 w 347"/>
              <a:gd name="T35" fmla="*/ 166 h 347"/>
              <a:gd name="T36" fmla="*/ 153 w 347"/>
              <a:gd name="T37" fmla="*/ 19 h 347"/>
              <a:gd name="T38" fmla="*/ 133 w 347"/>
              <a:gd name="T39" fmla="*/ 166 h 347"/>
              <a:gd name="T40" fmla="*/ 79 w 347"/>
              <a:gd name="T41" fmla="*/ 166 h 347"/>
              <a:gd name="T42" fmla="*/ 153 w 347"/>
              <a:gd name="T43" fmla="*/ 19 h 347"/>
              <a:gd name="T44" fmla="*/ 133 w 347"/>
              <a:gd name="T45" fmla="*/ 181 h 347"/>
              <a:gd name="T46" fmla="*/ 153 w 347"/>
              <a:gd name="T47" fmla="*/ 329 h 347"/>
              <a:gd name="T48" fmla="*/ 79 w 347"/>
              <a:gd name="T49" fmla="*/ 181 h 347"/>
              <a:gd name="T50" fmla="*/ 133 w 347"/>
              <a:gd name="T51" fmla="*/ 181 h 347"/>
              <a:gd name="T52" fmla="*/ 194 w 347"/>
              <a:gd name="T53" fmla="*/ 329 h 347"/>
              <a:gd name="T54" fmla="*/ 215 w 347"/>
              <a:gd name="T55" fmla="*/ 181 h 347"/>
              <a:gd name="T56" fmla="*/ 268 w 347"/>
              <a:gd name="T57" fmla="*/ 181 h 347"/>
              <a:gd name="T58" fmla="*/ 194 w 347"/>
              <a:gd name="T59" fmla="*/ 329 h 347"/>
              <a:gd name="T60" fmla="*/ 215 w 347"/>
              <a:gd name="T61" fmla="*/ 166 h 347"/>
              <a:gd name="T62" fmla="*/ 194 w 347"/>
              <a:gd name="T63" fmla="*/ 19 h 347"/>
              <a:gd name="T64" fmla="*/ 268 w 347"/>
              <a:gd name="T65" fmla="*/ 166 h 347"/>
              <a:gd name="T66" fmla="*/ 215 w 347"/>
              <a:gd name="T67" fmla="*/ 166 h 347"/>
              <a:gd name="T68" fmla="*/ 117 w 347"/>
              <a:gd name="T69" fmla="*/ 26 h 347"/>
              <a:gd name="T70" fmla="*/ 64 w 347"/>
              <a:gd name="T71" fmla="*/ 166 h 347"/>
              <a:gd name="T72" fmla="*/ 15 w 347"/>
              <a:gd name="T73" fmla="*/ 166 h 347"/>
              <a:gd name="T74" fmla="*/ 117 w 347"/>
              <a:gd name="T75" fmla="*/ 26 h 347"/>
              <a:gd name="T76" fmla="*/ 15 w 347"/>
              <a:gd name="T77" fmla="*/ 181 h 347"/>
              <a:gd name="T78" fmla="*/ 64 w 347"/>
              <a:gd name="T79" fmla="*/ 181 h 347"/>
              <a:gd name="T80" fmla="*/ 117 w 347"/>
              <a:gd name="T81" fmla="*/ 322 h 347"/>
              <a:gd name="T82" fmla="*/ 15 w 347"/>
              <a:gd name="T83" fmla="*/ 181 h 347"/>
              <a:gd name="T84" fmla="*/ 231 w 347"/>
              <a:gd name="T85" fmla="*/ 322 h 347"/>
              <a:gd name="T86" fmla="*/ 283 w 347"/>
              <a:gd name="T87" fmla="*/ 181 h 347"/>
              <a:gd name="T88" fmla="*/ 332 w 347"/>
              <a:gd name="T89" fmla="*/ 181 h 347"/>
              <a:gd name="T90" fmla="*/ 231 w 347"/>
              <a:gd name="T91" fmla="*/ 3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7" h="347">
                <a:moveTo>
                  <a:pt x="174" y="0"/>
                </a:moveTo>
                <a:cubicBezTo>
                  <a:pt x="78" y="0"/>
                  <a:pt x="0" y="78"/>
                  <a:pt x="0" y="174"/>
                </a:cubicBezTo>
                <a:cubicBezTo>
                  <a:pt x="0" y="269"/>
                  <a:pt x="78" y="347"/>
                  <a:pt x="174" y="347"/>
                </a:cubicBezTo>
                <a:cubicBezTo>
                  <a:pt x="269" y="347"/>
                  <a:pt x="347" y="269"/>
                  <a:pt x="347" y="174"/>
                </a:cubicBezTo>
                <a:cubicBezTo>
                  <a:pt x="347" y="78"/>
                  <a:pt x="269" y="0"/>
                  <a:pt x="174" y="0"/>
                </a:cubicBezTo>
                <a:close/>
                <a:moveTo>
                  <a:pt x="332" y="166"/>
                </a:moveTo>
                <a:cubicBezTo>
                  <a:pt x="283" y="166"/>
                  <a:pt x="283" y="166"/>
                  <a:pt x="283" y="166"/>
                </a:cubicBezTo>
                <a:cubicBezTo>
                  <a:pt x="281" y="107"/>
                  <a:pt x="261" y="55"/>
                  <a:pt x="231" y="26"/>
                </a:cubicBezTo>
                <a:cubicBezTo>
                  <a:pt x="288" y="48"/>
                  <a:pt x="329" y="102"/>
                  <a:pt x="332" y="166"/>
                </a:cubicBezTo>
                <a:close/>
                <a:moveTo>
                  <a:pt x="174" y="332"/>
                </a:moveTo>
                <a:cubicBezTo>
                  <a:pt x="165" y="330"/>
                  <a:pt x="148" y="277"/>
                  <a:pt x="147" y="181"/>
                </a:cubicBezTo>
                <a:cubicBezTo>
                  <a:pt x="200" y="181"/>
                  <a:pt x="200" y="181"/>
                  <a:pt x="200" y="181"/>
                </a:cubicBezTo>
                <a:cubicBezTo>
                  <a:pt x="199" y="277"/>
                  <a:pt x="183" y="330"/>
                  <a:pt x="174" y="332"/>
                </a:cubicBezTo>
                <a:close/>
                <a:moveTo>
                  <a:pt x="147" y="166"/>
                </a:moveTo>
                <a:cubicBezTo>
                  <a:pt x="148" y="70"/>
                  <a:pt x="165" y="17"/>
                  <a:pt x="174" y="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83" y="17"/>
                  <a:pt x="199" y="70"/>
                  <a:pt x="200" y="166"/>
                </a:cubicBezTo>
                <a:lnTo>
                  <a:pt x="147" y="166"/>
                </a:lnTo>
                <a:close/>
                <a:moveTo>
                  <a:pt x="153" y="19"/>
                </a:moveTo>
                <a:cubicBezTo>
                  <a:pt x="138" y="51"/>
                  <a:pt x="133" y="118"/>
                  <a:pt x="133" y="166"/>
                </a:cubicBezTo>
                <a:cubicBezTo>
                  <a:pt x="79" y="166"/>
                  <a:pt x="79" y="166"/>
                  <a:pt x="79" y="166"/>
                </a:cubicBezTo>
                <a:cubicBezTo>
                  <a:pt x="81" y="94"/>
                  <a:pt x="112" y="34"/>
                  <a:pt x="153" y="19"/>
                </a:cubicBezTo>
                <a:close/>
                <a:moveTo>
                  <a:pt x="133" y="181"/>
                </a:moveTo>
                <a:cubicBezTo>
                  <a:pt x="133" y="229"/>
                  <a:pt x="138" y="296"/>
                  <a:pt x="153" y="329"/>
                </a:cubicBezTo>
                <a:cubicBezTo>
                  <a:pt x="112" y="313"/>
                  <a:pt x="81" y="254"/>
                  <a:pt x="79" y="181"/>
                </a:cubicBezTo>
                <a:lnTo>
                  <a:pt x="133" y="181"/>
                </a:lnTo>
                <a:close/>
                <a:moveTo>
                  <a:pt x="194" y="329"/>
                </a:moveTo>
                <a:cubicBezTo>
                  <a:pt x="209" y="296"/>
                  <a:pt x="214" y="229"/>
                  <a:pt x="215" y="181"/>
                </a:cubicBezTo>
                <a:cubicBezTo>
                  <a:pt x="268" y="181"/>
                  <a:pt x="268" y="181"/>
                  <a:pt x="268" y="181"/>
                </a:cubicBezTo>
                <a:cubicBezTo>
                  <a:pt x="266" y="254"/>
                  <a:pt x="235" y="313"/>
                  <a:pt x="194" y="329"/>
                </a:cubicBezTo>
                <a:close/>
                <a:moveTo>
                  <a:pt x="215" y="166"/>
                </a:moveTo>
                <a:cubicBezTo>
                  <a:pt x="214" y="118"/>
                  <a:pt x="209" y="51"/>
                  <a:pt x="194" y="19"/>
                </a:cubicBezTo>
                <a:cubicBezTo>
                  <a:pt x="235" y="34"/>
                  <a:pt x="266" y="94"/>
                  <a:pt x="268" y="166"/>
                </a:cubicBezTo>
                <a:lnTo>
                  <a:pt x="215" y="166"/>
                </a:lnTo>
                <a:close/>
                <a:moveTo>
                  <a:pt x="117" y="26"/>
                </a:moveTo>
                <a:cubicBezTo>
                  <a:pt x="87" y="55"/>
                  <a:pt x="66" y="107"/>
                  <a:pt x="64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8" y="102"/>
                  <a:pt x="59" y="48"/>
                  <a:pt x="117" y="26"/>
                </a:cubicBezTo>
                <a:close/>
                <a:moveTo>
                  <a:pt x="15" y="181"/>
                </a:moveTo>
                <a:cubicBezTo>
                  <a:pt x="64" y="181"/>
                  <a:pt x="64" y="181"/>
                  <a:pt x="64" y="181"/>
                </a:cubicBezTo>
                <a:cubicBezTo>
                  <a:pt x="66" y="241"/>
                  <a:pt x="87" y="292"/>
                  <a:pt x="117" y="322"/>
                </a:cubicBezTo>
                <a:cubicBezTo>
                  <a:pt x="59" y="300"/>
                  <a:pt x="18" y="245"/>
                  <a:pt x="15" y="181"/>
                </a:cubicBezTo>
                <a:close/>
                <a:moveTo>
                  <a:pt x="231" y="322"/>
                </a:moveTo>
                <a:cubicBezTo>
                  <a:pt x="261" y="292"/>
                  <a:pt x="281" y="241"/>
                  <a:pt x="283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29" y="245"/>
                  <a:pt x="288" y="300"/>
                  <a:pt x="231" y="3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6" name="Freeform 80"/>
          <p:cNvSpPr>
            <a:spLocks noEditPoints="1"/>
          </p:cNvSpPr>
          <p:nvPr/>
        </p:nvSpPr>
        <p:spPr bwMode="auto">
          <a:xfrm>
            <a:off x="1256636" y="4134370"/>
            <a:ext cx="330234" cy="486983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7" name="Freeform 77"/>
          <p:cNvSpPr>
            <a:spLocks noEditPoints="1"/>
          </p:cNvSpPr>
          <p:nvPr/>
        </p:nvSpPr>
        <p:spPr bwMode="auto">
          <a:xfrm>
            <a:off x="4875673" y="4186008"/>
            <a:ext cx="487109" cy="334145"/>
          </a:xfrm>
          <a:custGeom>
            <a:avLst/>
            <a:gdLst>
              <a:gd name="T0" fmla="*/ 340 w 413"/>
              <a:gd name="T1" fmla="*/ 283 h 283"/>
              <a:gd name="T2" fmla="*/ 73 w 413"/>
              <a:gd name="T3" fmla="*/ 283 h 283"/>
              <a:gd name="T4" fmla="*/ 72 w 413"/>
              <a:gd name="T5" fmla="*/ 283 h 283"/>
              <a:gd name="T6" fmla="*/ 0 w 413"/>
              <a:gd name="T7" fmla="*/ 209 h 283"/>
              <a:gd name="T8" fmla="*/ 70 w 413"/>
              <a:gd name="T9" fmla="*/ 135 h 283"/>
              <a:gd name="T10" fmla="*/ 66 w 413"/>
              <a:gd name="T11" fmla="*/ 107 h 283"/>
              <a:gd name="T12" fmla="*/ 173 w 413"/>
              <a:gd name="T13" fmla="*/ 0 h 283"/>
              <a:gd name="T14" fmla="*/ 273 w 413"/>
              <a:gd name="T15" fmla="*/ 69 h 283"/>
              <a:gd name="T16" fmla="*/ 273 w 413"/>
              <a:gd name="T17" fmla="*/ 69 h 283"/>
              <a:gd name="T18" fmla="*/ 346 w 413"/>
              <a:gd name="T19" fmla="*/ 135 h 283"/>
              <a:gd name="T20" fmla="*/ 413 w 413"/>
              <a:gd name="T21" fmla="*/ 209 h 283"/>
              <a:gd name="T22" fmla="*/ 341 w 413"/>
              <a:gd name="T23" fmla="*/ 283 h 283"/>
              <a:gd name="T24" fmla="*/ 340 w 413"/>
              <a:gd name="T25" fmla="*/ 283 h 283"/>
              <a:gd name="T26" fmla="*/ 73 w 413"/>
              <a:gd name="T27" fmla="*/ 268 h 283"/>
              <a:gd name="T28" fmla="*/ 339 w 413"/>
              <a:gd name="T29" fmla="*/ 268 h 283"/>
              <a:gd name="T30" fmla="*/ 340 w 413"/>
              <a:gd name="T31" fmla="*/ 268 h 283"/>
              <a:gd name="T32" fmla="*/ 398 w 413"/>
              <a:gd name="T33" fmla="*/ 209 h 283"/>
              <a:gd name="T34" fmla="*/ 339 w 413"/>
              <a:gd name="T35" fmla="*/ 150 h 283"/>
              <a:gd name="T36" fmla="*/ 332 w 413"/>
              <a:gd name="T37" fmla="*/ 142 h 283"/>
              <a:gd name="T38" fmla="*/ 273 w 413"/>
              <a:gd name="T39" fmla="*/ 83 h 283"/>
              <a:gd name="T40" fmla="*/ 268 w 413"/>
              <a:gd name="T41" fmla="*/ 84 h 283"/>
              <a:gd name="T42" fmla="*/ 261 w 413"/>
              <a:gd name="T43" fmla="*/ 79 h 283"/>
              <a:gd name="T44" fmla="*/ 173 w 413"/>
              <a:gd name="T45" fmla="*/ 15 h 283"/>
              <a:gd name="T46" fmla="*/ 81 w 413"/>
              <a:gd name="T47" fmla="*/ 107 h 283"/>
              <a:gd name="T48" fmla="*/ 87 w 413"/>
              <a:gd name="T49" fmla="*/ 140 h 283"/>
              <a:gd name="T50" fmla="*/ 86 w 413"/>
              <a:gd name="T51" fmla="*/ 147 h 283"/>
              <a:gd name="T52" fmla="*/ 79 w 413"/>
              <a:gd name="T53" fmla="*/ 150 h 283"/>
              <a:gd name="T54" fmla="*/ 73 w 413"/>
              <a:gd name="T55" fmla="*/ 150 h 283"/>
              <a:gd name="T56" fmla="*/ 14 w 413"/>
              <a:gd name="T57" fmla="*/ 209 h 283"/>
              <a:gd name="T58" fmla="*/ 73 w 413"/>
              <a:gd name="T59" fmla="*/ 268 h 283"/>
              <a:gd name="T60" fmla="*/ 73 w 413"/>
              <a:gd name="T61" fmla="*/ 268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13" h="283">
                <a:moveTo>
                  <a:pt x="340" y="283"/>
                </a:moveTo>
                <a:cubicBezTo>
                  <a:pt x="73" y="283"/>
                  <a:pt x="73" y="283"/>
                  <a:pt x="73" y="283"/>
                </a:cubicBezTo>
                <a:cubicBezTo>
                  <a:pt x="73" y="283"/>
                  <a:pt x="72" y="283"/>
                  <a:pt x="72" y="283"/>
                </a:cubicBezTo>
                <a:cubicBezTo>
                  <a:pt x="32" y="282"/>
                  <a:pt x="0" y="249"/>
                  <a:pt x="0" y="209"/>
                </a:cubicBezTo>
                <a:cubicBezTo>
                  <a:pt x="0" y="169"/>
                  <a:pt x="31" y="137"/>
                  <a:pt x="70" y="135"/>
                </a:cubicBezTo>
                <a:cubicBezTo>
                  <a:pt x="67" y="126"/>
                  <a:pt x="66" y="117"/>
                  <a:pt x="66" y="107"/>
                </a:cubicBezTo>
                <a:cubicBezTo>
                  <a:pt x="66" y="48"/>
                  <a:pt x="114" y="0"/>
                  <a:pt x="173" y="0"/>
                </a:cubicBezTo>
                <a:cubicBezTo>
                  <a:pt x="217" y="0"/>
                  <a:pt x="257" y="27"/>
                  <a:pt x="273" y="69"/>
                </a:cubicBezTo>
                <a:cubicBezTo>
                  <a:pt x="273" y="69"/>
                  <a:pt x="273" y="69"/>
                  <a:pt x="273" y="69"/>
                </a:cubicBezTo>
                <a:cubicBezTo>
                  <a:pt x="311" y="69"/>
                  <a:pt x="343" y="98"/>
                  <a:pt x="346" y="135"/>
                </a:cubicBezTo>
                <a:cubicBezTo>
                  <a:pt x="384" y="139"/>
                  <a:pt x="413" y="171"/>
                  <a:pt x="413" y="209"/>
                </a:cubicBezTo>
                <a:cubicBezTo>
                  <a:pt x="413" y="249"/>
                  <a:pt x="381" y="282"/>
                  <a:pt x="341" y="283"/>
                </a:cubicBezTo>
                <a:cubicBezTo>
                  <a:pt x="340" y="283"/>
                  <a:pt x="340" y="283"/>
                  <a:pt x="340" y="283"/>
                </a:cubicBezTo>
                <a:close/>
                <a:moveTo>
                  <a:pt x="73" y="268"/>
                </a:moveTo>
                <a:cubicBezTo>
                  <a:pt x="339" y="268"/>
                  <a:pt x="339" y="268"/>
                  <a:pt x="339" y="268"/>
                </a:cubicBezTo>
                <a:cubicBezTo>
                  <a:pt x="339" y="268"/>
                  <a:pt x="340" y="268"/>
                  <a:pt x="340" y="268"/>
                </a:cubicBezTo>
                <a:cubicBezTo>
                  <a:pt x="372" y="268"/>
                  <a:pt x="398" y="241"/>
                  <a:pt x="398" y="209"/>
                </a:cubicBezTo>
                <a:cubicBezTo>
                  <a:pt x="398" y="176"/>
                  <a:pt x="372" y="150"/>
                  <a:pt x="339" y="150"/>
                </a:cubicBezTo>
                <a:cubicBezTo>
                  <a:pt x="335" y="150"/>
                  <a:pt x="332" y="146"/>
                  <a:pt x="332" y="142"/>
                </a:cubicBezTo>
                <a:cubicBezTo>
                  <a:pt x="332" y="110"/>
                  <a:pt x="305" y="83"/>
                  <a:pt x="273" y="83"/>
                </a:cubicBezTo>
                <a:cubicBezTo>
                  <a:pt x="271" y="83"/>
                  <a:pt x="270" y="83"/>
                  <a:pt x="268" y="84"/>
                </a:cubicBezTo>
                <a:cubicBezTo>
                  <a:pt x="265" y="84"/>
                  <a:pt x="262" y="82"/>
                  <a:pt x="261" y="79"/>
                </a:cubicBezTo>
                <a:cubicBezTo>
                  <a:pt x="248" y="40"/>
                  <a:pt x="213" y="15"/>
                  <a:pt x="173" y="15"/>
                </a:cubicBezTo>
                <a:cubicBezTo>
                  <a:pt x="122" y="15"/>
                  <a:pt x="81" y="56"/>
                  <a:pt x="81" y="107"/>
                </a:cubicBezTo>
                <a:cubicBezTo>
                  <a:pt x="81" y="118"/>
                  <a:pt x="83" y="129"/>
                  <a:pt x="87" y="140"/>
                </a:cubicBezTo>
                <a:cubicBezTo>
                  <a:pt x="88" y="142"/>
                  <a:pt x="87" y="145"/>
                  <a:pt x="86" y="147"/>
                </a:cubicBezTo>
                <a:cubicBezTo>
                  <a:pt x="84" y="149"/>
                  <a:pt x="82" y="150"/>
                  <a:pt x="79" y="150"/>
                </a:cubicBezTo>
                <a:cubicBezTo>
                  <a:pt x="77" y="150"/>
                  <a:pt x="75" y="150"/>
                  <a:pt x="73" y="150"/>
                </a:cubicBezTo>
                <a:cubicBezTo>
                  <a:pt x="41" y="150"/>
                  <a:pt x="14" y="176"/>
                  <a:pt x="14" y="209"/>
                </a:cubicBezTo>
                <a:cubicBezTo>
                  <a:pt x="14" y="241"/>
                  <a:pt x="41" y="268"/>
                  <a:pt x="73" y="268"/>
                </a:cubicBezTo>
                <a:cubicBezTo>
                  <a:pt x="73" y="268"/>
                  <a:pt x="73" y="268"/>
                  <a:pt x="73" y="2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8" name="Freeform 83"/>
          <p:cNvSpPr>
            <a:spLocks noEditPoints="1"/>
          </p:cNvSpPr>
          <p:nvPr/>
        </p:nvSpPr>
        <p:spPr bwMode="auto">
          <a:xfrm>
            <a:off x="8606138" y="4203252"/>
            <a:ext cx="487109" cy="378598"/>
          </a:xfrm>
          <a:custGeom>
            <a:avLst/>
            <a:gdLst>
              <a:gd name="T0" fmla="*/ 339 w 413"/>
              <a:gd name="T1" fmla="*/ 41 h 321"/>
              <a:gd name="T2" fmla="*/ 280 w 413"/>
              <a:gd name="T3" fmla="*/ 41 h 321"/>
              <a:gd name="T4" fmla="*/ 280 w 413"/>
              <a:gd name="T5" fmla="*/ 8 h 321"/>
              <a:gd name="T6" fmla="*/ 273 w 413"/>
              <a:gd name="T7" fmla="*/ 0 h 321"/>
              <a:gd name="T8" fmla="*/ 140 w 413"/>
              <a:gd name="T9" fmla="*/ 0 h 321"/>
              <a:gd name="T10" fmla="*/ 132 w 413"/>
              <a:gd name="T11" fmla="*/ 8 h 321"/>
              <a:gd name="T12" fmla="*/ 132 w 413"/>
              <a:gd name="T13" fmla="*/ 41 h 321"/>
              <a:gd name="T14" fmla="*/ 73 w 413"/>
              <a:gd name="T15" fmla="*/ 41 h 321"/>
              <a:gd name="T16" fmla="*/ 0 w 413"/>
              <a:gd name="T17" fmla="*/ 115 h 321"/>
              <a:gd name="T18" fmla="*/ 0 w 413"/>
              <a:gd name="T19" fmla="*/ 247 h 321"/>
              <a:gd name="T20" fmla="*/ 73 w 413"/>
              <a:gd name="T21" fmla="*/ 321 h 321"/>
              <a:gd name="T22" fmla="*/ 339 w 413"/>
              <a:gd name="T23" fmla="*/ 321 h 321"/>
              <a:gd name="T24" fmla="*/ 413 w 413"/>
              <a:gd name="T25" fmla="*/ 247 h 321"/>
              <a:gd name="T26" fmla="*/ 413 w 413"/>
              <a:gd name="T27" fmla="*/ 115 h 321"/>
              <a:gd name="T28" fmla="*/ 339 w 413"/>
              <a:gd name="T29" fmla="*/ 41 h 321"/>
              <a:gd name="T30" fmla="*/ 81 w 413"/>
              <a:gd name="T31" fmla="*/ 56 h 321"/>
              <a:gd name="T32" fmla="*/ 332 w 413"/>
              <a:gd name="T33" fmla="*/ 56 h 321"/>
              <a:gd name="T34" fmla="*/ 332 w 413"/>
              <a:gd name="T35" fmla="*/ 306 h 321"/>
              <a:gd name="T36" fmla="*/ 81 w 413"/>
              <a:gd name="T37" fmla="*/ 306 h 321"/>
              <a:gd name="T38" fmla="*/ 81 w 413"/>
              <a:gd name="T39" fmla="*/ 56 h 321"/>
              <a:gd name="T40" fmla="*/ 147 w 413"/>
              <a:gd name="T41" fmla="*/ 15 h 321"/>
              <a:gd name="T42" fmla="*/ 265 w 413"/>
              <a:gd name="T43" fmla="*/ 15 h 321"/>
              <a:gd name="T44" fmla="*/ 265 w 413"/>
              <a:gd name="T45" fmla="*/ 41 h 321"/>
              <a:gd name="T46" fmla="*/ 147 w 413"/>
              <a:gd name="T47" fmla="*/ 41 h 321"/>
              <a:gd name="T48" fmla="*/ 147 w 413"/>
              <a:gd name="T49" fmla="*/ 15 h 321"/>
              <a:gd name="T50" fmla="*/ 14 w 413"/>
              <a:gd name="T51" fmla="*/ 247 h 321"/>
              <a:gd name="T52" fmla="*/ 14 w 413"/>
              <a:gd name="T53" fmla="*/ 115 h 321"/>
              <a:gd name="T54" fmla="*/ 66 w 413"/>
              <a:gd name="T55" fmla="*/ 56 h 321"/>
              <a:gd name="T56" fmla="*/ 66 w 413"/>
              <a:gd name="T57" fmla="*/ 305 h 321"/>
              <a:gd name="T58" fmla="*/ 14 w 413"/>
              <a:gd name="T59" fmla="*/ 247 h 321"/>
              <a:gd name="T60" fmla="*/ 398 w 413"/>
              <a:gd name="T61" fmla="*/ 247 h 321"/>
              <a:gd name="T62" fmla="*/ 347 w 413"/>
              <a:gd name="T63" fmla="*/ 305 h 321"/>
              <a:gd name="T64" fmla="*/ 347 w 413"/>
              <a:gd name="T65" fmla="*/ 56 h 321"/>
              <a:gd name="T66" fmla="*/ 398 w 413"/>
              <a:gd name="T67" fmla="*/ 115 h 321"/>
              <a:gd name="T68" fmla="*/ 398 w 413"/>
              <a:gd name="T69" fmla="*/ 24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3" h="321">
                <a:moveTo>
                  <a:pt x="339" y="41"/>
                </a:moveTo>
                <a:cubicBezTo>
                  <a:pt x="280" y="41"/>
                  <a:pt x="280" y="41"/>
                  <a:pt x="280" y="41"/>
                </a:cubicBezTo>
                <a:cubicBezTo>
                  <a:pt x="280" y="8"/>
                  <a:pt x="280" y="8"/>
                  <a:pt x="280" y="8"/>
                </a:cubicBezTo>
                <a:cubicBezTo>
                  <a:pt x="280" y="4"/>
                  <a:pt x="277" y="0"/>
                  <a:pt x="27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6" y="0"/>
                  <a:pt x="132" y="4"/>
                  <a:pt x="132" y="8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73" y="41"/>
                  <a:pt x="73" y="41"/>
                  <a:pt x="73" y="41"/>
                </a:cubicBezTo>
                <a:cubicBezTo>
                  <a:pt x="33" y="41"/>
                  <a:pt x="0" y="74"/>
                  <a:pt x="0" y="115"/>
                </a:cubicBezTo>
                <a:cubicBezTo>
                  <a:pt x="0" y="247"/>
                  <a:pt x="0" y="247"/>
                  <a:pt x="0" y="247"/>
                </a:cubicBezTo>
                <a:cubicBezTo>
                  <a:pt x="0" y="288"/>
                  <a:pt x="33" y="321"/>
                  <a:pt x="73" y="321"/>
                </a:cubicBezTo>
                <a:cubicBezTo>
                  <a:pt x="339" y="321"/>
                  <a:pt x="339" y="321"/>
                  <a:pt x="339" y="321"/>
                </a:cubicBezTo>
                <a:cubicBezTo>
                  <a:pt x="380" y="321"/>
                  <a:pt x="413" y="288"/>
                  <a:pt x="413" y="247"/>
                </a:cubicBezTo>
                <a:cubicBezTo>
                  <a:pt x="413" y="115"/>
                  <a:pt x="413" y="115"/>
                  <a:pt x="413" y="115"/>
                </a:cubicBezTo>
                <a:cubicBezTo>
                  <a:pt x="413" y="74"/>
                  <a:pt x="380" y="41"/>
                  <a:pt x="339" y="41"/>
                </a:cubicBezTo>
                <a:close/>
                <a:moveTo>
                  <a:pt x="81" y="56"/>
                </a:moveTo>
                <a:cubicBezTo>
                  <a:pt x="332" y="56"/>
                  <a:pt x="332" y="56"/>
                  <a:pt x="332" y="56"/>
                </a:cubicBezTo>
                <a:cubicBezTo>
                  <a:pt x="332" y="306"/>
                  <a:pt x="332" y="306"/>
                  <a:pt x="332" y="306"/>
                </a:cubicBezTo>
                <a:cubicBezTo>
                  <a:pt x="81" y="306"/>
                  <a:pt x="81" y="306"/>
                  <a:pt x="81" y="306"/>
                </a:cubicBezTo>
                <a:lnTo>
                  <a:pt x="81" y="56"/>
                </a:lnTo>
                <a:close/>
                <a:moveTo>
                  <a:pt x="147" y="15"/>
                </a:moveTo>
                <a:cubicBezTo>
                  <a:pt x="265" y="15"/>
                  <a:pt x="265" y="15"/>
                  <a:pt x="265" y="15"/>
                </a:cubicBezTo>
                <a:cubicBezTo>
                  <a:pt x="265" y="41"/>
                  <a:pt x="265" y="41"/>
                  <a:pt x="265" y="41"/>
                </a:cubicBezTo>
                <a:cubicBezTo>
                  <a:pt x="147" y="41"/>
                  <a:pt x="147" y="41"/>
                  <a:pt x="147" y="41"/>
                </a:cubicBezTo>
                <a:lnTo>
                  <a:pt x="147" y="15"/>
                </a:lnTo>
                <a:close/>
                <a:moveTo>
                  <a:pt x="14" y="247"/>
                </a:moveTo>
                <a:cubicBezTo>
                  <a:pt x="14" y="115"/>
                  <a:pt x="14" y="115"/>
                  <a:pt x="14" y="115"/>
                </a:cubicBezTo>
                <a:cubicBezTo>
                  <a:pt x="14" y="85"/>
                  <a:pt x="37" y="60"/>
                  <a:pt x="66" y="56"/>
                </a:cubicBezTo>
                <a:cubicBezTo>
                  <a:pt x="66" y="305"/>
                  <a:pt x="66" y="305"/>
                  <a:pt x="66" y="305"/>
                </a:cubicBezTo>
                <a:cubicBezTo>
                  <a:pt x="37" y="302"/>
                  <a:pt x="14" y="277"/>
                  <a:pt x="14" y="247"/>
                </a:cubicBezTo>
                <a:close/>
                <a:moveTo>
                  <a:pt x="398" y="247"/>
                </a:moveTo>
                <a:cubicBezTo>
                  <a:pt x="398" y="277"/>
                  <a:pt x="376" y="302"/>
                  <a:pt x="347" y="305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76" y="60"/>
                  <a:pt x="398" y="85"/>
                  <a:pt x="398" y="115"/>
                </a:cubicBezTo>
                <a:lnTo>
                  <a:pt x="398" y="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2114404" y="2091503"/>
            <a:ext cx="1916041" cy="1080798"/>
            <a:chOff x="2114404" y="2091503"/>
            <a:chExt cx="1916041" cy="1080798"/>
          </a:xfrm>
        </p:grpSpPr>
        <p:sp>
          <p:nvSpPr>
            <p:cNvPr id="1387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55" name="矩形 54"/>
            <p:cNvSpPr/>
            <p:nvPr/>
          </p:nvSpPr>
          <p:spPr>
            <a:xfrm>
              <a:off x="2123641" y="2091503"/>
              <a:ext cx="19068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Single Line Display</a:t>
              </a:r>
              <a:endParaRPr lang="en-US" altLang="zh-CN" dirty="0"/>
            </a:p>
          </p:txBody>
        </p:sp>
      </p:grpSp>
      <p:grpSp>
        <p:nvGrpSpPr>
          <p:cNvPr id="3879" name="组合 3878"/>
          <p:cNvGrpSpPr/>
          <p:nvPr/>
        </p:nvGrpSpPr>
        <p:grpSpPr>
          <a:xfrm>
            <a:off x="2088089" y="3812681"/>
            <a:ext cx="1937970" cy="1080798"/>
            <a:chOff x="2114404" y="2091503"/>
            <a:chExt cx="1937970" cy="1080798"/>
          </a:xfrm>
        </p:grpSpPr>
        <p:sp>
          <p:nvSpPr>
            <p:cNvPr id="3880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1" name="矩形 3880"/>
            <p:cNvSpPr/>
            <p:nvPr/>
          </p:nvSpPr>
          <p:spPr>
            <a:xfrm>
              <a:off x="2123641" y="2091503"/>
              <a:ext cx="192873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Embedded Small 3</a:t>
              </a:r>
            </a:p>
          </p:txBody>
        </p:sp>
      </p:grpSp>
      <p:grpSp>
        <p:nvGrpSpPr>
          <p:cNvPr id="3885" name="组合 3884"/>
          <p:cNvGrpSpPr/>
          <p:nvPr/>
        </p:nvGrpSpPr>
        <p:grpSpPr>
          <a:xfrm>
            <a:off x="5806788" y="2088508"/>
            <a:ext cx="1423332" cy="1080798"/>
            <a:chOff x="2114404" y="2091503"/>
            <a:chExt cx="1423332" cy="1080798"/>
          </a:xfrm>
        </p:grpSpPr>
        <p:sp>
          <p:nvSpPr>
            <p:cNvPr id="3886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7" name="矩形 3886"/>
            <p:cNvSpPr/>
            <p:nvPr/>
          </p:nvSpPr>
          <p:spPr>
            <a:xfrm>
              <a:off x="2123641" y="2091503"/>
              <a:ext cx="108356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earable</a:t>
              </a:r>
            </a:p>
          </p:txBody>
        </p:sp>
      </p:grpSp>
      <p:grpSp>
        <p:nvGrpSpPr>
          <p:cNvPr id="3888" name="组合 3887"/>
          <p:cNvGrpSpPr/>
          <p:nvPr/>
        </p:nvGrpSpPr>
        <p:grpSpPr>
          <a:xfrm>
            <a:off x="5780473" y="3809686"/>
            <a:ext cx="2132867" cy="1080798"/>
            <a:chOff x="2114404" y="2091503"/>
            <a:chExt cx="2132867" cy="1080798"/>
          </a:xfrm>
        </p:grpSpPr>
        <p:sp>
          <p:nvSpPr>
            <p:cNvPr id="3889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0" name="矩形 3889"/>
            <p:cNvSpPr/>
            <p:nvPr/>
          </p:nvSpPr>
          <p:spPr>
            <a:xfrm>
              <a:off x="2123640" y="2091503"/>
              <a:ext cx="21236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80">
                <a:defRPr/>
              </a:pPr>
              <a:r>
                <a:rPr lang="en-US" altLang="zh-CN" dirty="0" err="1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dvertisingDisplay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1" name="组合 3890"/>
          <p:cNvGrpSpPr/>
          <p:nvPr/>
        </p:nvGrpSpPr>
        <p:grpSpPr>
          <a:xfrm>
            <a:off x="9536585" y="2081043"/>
            <a:ext cx="1490605" cy="1080798"/>
            <a:chOff x="2114404" y="2091503"/>
            <a:chExt cx="1490605" cy="1080798"/>
          </a:xfrm>
        </p:grpSpPr>
        <p:sp>
          <p:nvSpPr>
            <p:cNvPr id="3892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3" name="矩形 3892"/>
            <p:cNvSpPr/>
            <p:nvPr/>
          </p:nvSpPr>
          <p:spPr>
            <a:xfrm>
              <a:off x="2123641" y="2091503"/>
              <a:ext cx="14813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056"/>
              <a:r>
                <a:rPr lang="en-US" altLang="zh-CN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torage Types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4" name="组合 3893"/>
          <p:cNvGrpSpPr/>
          <p:nvPr/>
        </p:nvGrpSpPr>
        <p:grpSpPr>
          <a:xfrm>
            <a:off x="9510270" y="3802221"/>
            <a:ext cx="1620832" cy="1080798"/>
            <a:chOff x="2114404" y="2091503"/>
            <a:chExt cx="1620832" cy="1080798"/>
          </a:xfrm>
        </p:grpSpPr>
        <p:sp>
          <p:nvSpPr>
            <p:cNvPr id="3895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6" name="矩形 3895"/>
            <p:cNvSpPr/>
            <p:nvPr/>
          </p:nvSpPr>
          <p:spPr>
            <a:xfrm>
              <a:off x="2123641" y="2091503"/>
              <a:ext cx="16115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vice Tailored</a:t>
              </a:r>
            </a:p>
          </p:txBody>
        </p:sp>
      </p:grpSp>
      <p:grpSp>
        <p:nvGrpSpPr>
          <p:cNvPr id="3897" name="组合 389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98" name="组合 389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905" name="矩形 390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6" name="文本框 390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907" name="文本框 390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908" name="直接连接符 390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09" name="椭圆 390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10" name="文本框 390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99" name="组合 389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903" name="六边形 390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900" name="组合 389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901" name="六边形 390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40550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632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7" name="饼形 6"/>
          <p:cNvSpPr/>
          <p:nvPr/>
        </p:nvSpPr>
        <p:spPr>
          <a:xfrm>
            <a:off x="1831896" y="2261517"/>
            <a:ext cx="2328432" cy="2328432"/>
          </a:xfrm>
          <a:prstGeom prst="pie">
            <a:avLst>
              <a:gd name="adj1" fmla="val 4938252"/>
              <a:gd name="adj2" fmla="val 15598490"/>
            </a:avLst>
          </a:prstGeom>
          <a:solidFill>
            <a:srgbClr val="EE3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0" name="饼形 119"/>
          <p:cNvSpPr/>
          <p:nvPr/>
        </p:nvSpPr>
        <p:spPr>
          <a:xfrm>
            <a:off x="1730739" y="2234175"/>
            <a:ext cx="2530481" cy="2530481"/>
          </a:xfrm>
          <a:prstGeom prst="pie">
            <a:avLst>
              <a:gd name="adj1" fmla="val 475446"/>
              <a:gd name="adj2" fmla="val 50138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1" name="饼形 120"/>
          <p:cNvSpPr/>
          <p:nvPr/>
        </p:nvSpPr>
        <p:spPr>
          <a:xfrm rot="17462744">
            <a:off x="1462203" y="1806433"/>
            <a:ext cx="3415685" cy="3415685"/>
          </a:xfrm>
          <a:prstGeom prst="pie">
            <a:avLst>
              <a:gd name="adj1" fmla="val 1023071"/>
              <a:gd name="adj2" fmla="val 466496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2" name="饼形 121"/>
          <p:cNvSpPr/>
          <p:nvPr/>
        </p:nvSpPr>
        <p:spPr>
          <a:xfrm rot="17462744">
            <a:off x="1591034" y="2135014"/>
            <a:ext cx="2952792" cy="2952792"/>
          </a:xfrm>
          <a:prstGeom prst="pie">
            <a:avLst>
              <a:gd name="adj1" fmla="val 19625554"/>
              <a:gd name="adj2" fmla="val 116497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4572413" y="3478512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椭圆 123"/>
          <p:cNvSpPr/>
          <p:nvPr/>
        </p:nvSpPr>
        <p:spPr>
          <a:xfrm>
            <a:off x="8793746" y="3359242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6" name="TextBox 58"/>
          <p:cNvSpPr txBox="1"/>
          <p:nvPr/>
        </p:nvSpPr>
        <p:spPr>
          <a:xfrm>
            <a:off x="4949419" y="3097784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sp>
        <p:nvSpPr>
          <p:cNvPr id="126" name="椭圆 125"/>
          <p:cNvSpPr/>
          <p:nvPr/>
        </p:nvSpPr>
        <p:spPr>
          <a:xfrm>
            <a:off x="5473949" y="3753973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椭圆 126"/>
          <p:cNvSpPr/>
          <p:nvPr/>
        </p:nvSpPr>
        <p:spPr>
          <a:xfrm>
            <a:off x="5473949" y="4179519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/>
        </p:nvSpPr>
        <p:spPr>
          <a:xfrm>
            <a:off x="5473949" y="460506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椭圆 128"/>
          <p:cNvSpPr/>
          <p:nvPr/>
        </p:nvSpPr>
        <p:spPr>
          <a:xfrm>
            <a:off x="5473949" y="5030611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椭圆 129"/>
          <p:cNvSpPr/>
          <p:nvPr/>
        </p:nvSpPr>
        <p:spPr>
          <a:xfrm>
            <a:off x="5473949" y="545615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2256784" y="2662847"/>
            <a:ext cx="1496447" cy="149644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5601388" y="366754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Services are designed with a “Cloud First” mindset with a failsafe implementation</a:t>
            </a:r>
          </a:p>
        </p:txBody>
      </p:sp>
      <p:sp>
        <p:nvSpPr>
          <p:cNvPr id="58" name="矩形 57"/>
          <p:cNvSpPr/>
          <p:nvPr/>
        </p:nvSpPr>
        <p:spPr>
          <a:xfrm>
            <a:off x="5599605" y="4103947"/>
            <a:ext cx="3065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err="1" smtClean="0">
                <a:solidFill>
                  <a:schemeClr val="bg1"/>
                </a:solidFill>
                <a:latin typeface="Segoe UI"/>
              </a:rPr>
              <a:t>RESTful</a:t>
            </a: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 APIs are designed using best practices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0" name="矩形 3839"/>
          <p:cNvSpPr/>
          <p:nvPr/>
        </p:nvSpPr>
        <p:spPr>
          <a:xfrm>
            <a:off x="5601388" y="45239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/>
              </a:rPr>
              <a:t>Services default to delivering data using a standard protocol (OData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1" name="矩形 3840"/>
          <p:cNvSpPr/>
          <p:nvPr/>
        </p:nvSpPr>
        <p:spPr>
          <a:xfrm>
            <a:off x="5601388" y="493483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/>
              </a:rPr>
              <a:t>People-centric or social-enabled services utilize open protocols (Open Graph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2" name="矩形 3841"/>
          <p:cNvSpPr/>
          <p:nvPr/>
        </p:nvSpPr>
        <p:spPr>
          <a:xfrm>
            <a:off x="5615489" y="5389923"/>
            <a:ext cx="3179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Services are data-centric and/or insight-enabled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37" name="Freeform 7"/>
          <p:cNvSpPr>
            <a:spLocks noChangeAspect="1" noEditPoints="1"/>
          </p:cNvSpPr>
          <p:nvPr/>
        </p:nvSpPr>
        <p:spPr bwMode="black">
          <a:xfrm>
            <a:off x="2490279" y="2941040"/>
            <a:ext cx="1029456" cy="910133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51415" tIns="25707" rIns="51415" bIns="25707" numCol="1" anchor="t" anchorCtr="0" compatLnSpc="1">
            <a:prstTxWarp prst="textNoShape">
              <a:avLst/>
            </a:prstTxWarp>
          </a:bodyPr>
          <a:lstStyle/>
          <a:p>
            <a:pPr defTabSz="932209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38" name="组合 13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39" name="组合 13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6" name="矩形 14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文本框 14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49" name="直接连接符 14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椭圆 14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组合 13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4" name="六边形 14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2" name="六边形 14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75067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6" name="矩形 135"/>
          <p:cNvSpPr/>
          <p:nvPr/>
        </p:nvSpPr>
        <p:spPr>
          <a:xfrm rot="18945673">
            <a:off x="5196127" y="2093096"/>
            <a:ext cx="1739884" cy="1738800"/>
          </a:xfrm>
          <a:prstGeom prst="rect">
            <a:avLst/>
          </a:prstGeom>
          <a:solidFill>
            <a:srgbClr val="EE35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8" name="组合 137"/>
          <p:cNvGrpSpPr/>
          <p:nvPr/>
        </p:nvGrpSpPr>
        <p:grpSpPr>
          <a:xfrm>
            <a:off x="2626113" y="2120333"/>
            <a:ext cx="1290963" cy="1438727"/>
            <a:chOff x="1190489" y="1328801"/>
            <a:chExt cx="1290963" cy="1438727"/>
          </a:xfrm>
          <a:effectLst/>
        </p:grpSpPr>
        <p:sp>
          <p:nvSpPr>
            <p:cNvPr id="139" name="矩形 138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3756151" y="2170084"/>
            <a:ext cx="1290963" cy="1438727"/>
            <a:chOff x="1190489" y="1328801"/>
            <a:chExt cx="1290963" cy="1438727"/>
          </a:xfrm>
          <a:effectLst/>
        </p:grpSpPr>
        <p:sp>
          <p:nvSpPr>
            <p:cNvPr id="142" name="矩形 141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矩形 142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4" name="组合 143"/>
          <p:cNvGrpSpPr/>
          <p:nvPr/>
        </p:nvGrpSpPr>
        <p:grpSpPr>
          <a:xfrm rot="10800000">
            <a:off x="7016265" y="2425913"/>
            <a:ext cx="1290963" cy="1438727"/>
            <a:chOff x="1190489" y="1328801"/>
            <a:chExt cx="1290963" cy="1438727"/>
          </a:xfrm>
          <a:effectLst/>
        </p:grpSpPr>
        <p:sp>
          <p:nvSpPr>
            <p:cNvPr id="145" name="矩形 144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矩形 145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7" name="组合 146"/>
          <p:cNvGrpSpPr/>
          <p:nvPr/>
        </p:nvGrpSpPr>
        <p:grpSpPr>
          <a:xfrm rot="10800000">
            <a:off x="8094049" y="2427706"/>
            <a:ext cx="1290963" cy="1438727"/>
            <a:chOff x="1190489" y="1328801"/>
            <a:chExt cx="1290963" cy="1438727"/>
          </a:xfrm>
          <a:effectLst/>
        </p:grpSpPr>
        <p:sp>
          <p:nvSpPr>
            <p:cNvPr id="148" name="矩形 147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矩形 148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50" name="Picture 66"/>
          <p:cNvPicPr>
            <a:picLocks noChangeAspect="1" noChangeArrowheads="1"/>
          </p:cNvPicPr>
          <p:nvPr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61"/>
          <a:stretch/>
        </p:blipFill>
        <p:spPr bwMode="auto">
          <a:xfrm>
            <a:off x="5590509" y="2251651"/>
            <a:ext cx="1010981" cy="9035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7" descr="\\MAGNUM\Projects\Microsoft\Cloud Power FY12\Design\ICONS_PNG\Within_Your_Reach.png"/>
          <p:cNvPicPr>
            <a:picLocks noChangeAspect="1" noChangeArrowheads="1"/>
          </p:cNvPicPr>
          <p:nvPr/>
        </p:nvPicPr>
        <p:blipFill>
          <a:blip r:embed="rId5" cstate="print">
            <a:biLevel thresh="25000"/>
          </a:blip>
          <a:stretch>
            <a:fillRect/>
          </a:stretch>
        </p:blipFill>
        <p:spPr bwMode="auto">
          <a:xfrm>
            <a:off x="7155517" y="2240429"/>
            <a:ext cx="568296" cy="619799"/>
          </a:xfrm>
          <a:prstGeom prst="rect">
            <a:avLst/>
          </a:prstGeom>
          <a:noFill/>
          <a:effectLst/>
        </p:spPr>
      </p:pic>
      <p:pic>
        <p:nvPicPr>
          <p:cNvPr id="152" name="Picture 25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6" cstate="print">
            <a:biLevel thresh="25000"/>
          </a:blip>
          <a:srcRect l="30174" t="36465" r="28608" b="29915"/>
          <a:stretch/>
        </p:blipFill>
        <p:spPr bwMode="auto">
          <a:xfrm>
            <a:off x="3115289" y="2343806"/>
            <a:ext cx="596375" cy="486442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53" name="Icon-Ideas"/>
          <p:cNvSpPr>
            <a:spLocks noEditPoints="1"/>
          </p:cNvSpPr>
          <p:nvPr/>
        </p:nvSpPr>
        <p:spPr bwMode="auto">
          <a:xfrm>
            <a:off x="4321599" y="2459016"/>
            <a:ext cx="419268" cy="371232"/>
          </a:xfrm>
          <a:custGeom>
            <a:avLst/>
            <a:gdLst>
              <a:gd name="T0" fmla="*/ 751 w 3306"/>
              <a:gd name="T1" fmla="*/ 1653 h 2928"/>
              <a:gd name="T2" fmla="*/ 1178 w 3306"/>
              <a:gd name="T3" fmla="*/ 2807 h 2928"/>
              <a:gd name="T4" fmla="*/ 2006 w 3306"/>
              <a:gd name="T5" fmla="*/ 2928 h 2928"/>
              <a:gd name="T6" fmla="*/ 2127 w 3306"/>
              <a:gd name="T7" fmla="*/ 2420 h 2928"/>
              <a:gd name="T8" fmla="*/ 1653 w 3306"/>
              <a:gd name="T9" fmla="*/ 751 h 2928"/>
              <a:gd name="T10" fmla="*/ 1421 w 3306"/>
              <a:gd name="T11" fmla="*/ 2685 h 2928"/>
              <a:gd name="T12" fmla="*/ 1653 w 3306"/>
              <a:gd name="T13" fmla="*/ 2555 h 2928"/>
              <a:gd name="T14" fmla="*/ 1884 w 3306"/>
              <a:gd name="T15" fmla="*/ 2685 h 2928"/>
              <a:gd name="T16" fmla="*/ 994 w 3306"/>
              <a:gd name="T17" fmla="*/ 1653 h 2928"/>
              <a:gd name="T18" fmla="*/ 2312 w 3306"/>
              <a:gd name="T19" fmla="*/ 1653 h 2928"/>
              <a:gd name="T20" fmla="*/ 1532 w 3306"/>
              <a:gd name="T21" fmla="*/ 501 h 2928"/>
              <a:gd name="T22" fmla="*/ 1653 w 3306"/>
              <a:gd name="T23" fmla="*/ 0 h 2928"/>
              <a:gd name="T24" fmla="*/ 1774 w 3306"/>
              <a:gd name="T25" fmla="*/ 501 h 2928"/>
              <a:gd name="T26" fmla="*/ 1532 w 3306"/>
              <a:gd name="T27" fmla="*/ 501 h 2928"/>
              <a:gd name="T28" fmla="*/ 2382 w 3306"/>
              <a:gd name="T29" fmla="*/ 752 h 2928"/>
              <a:gd name="T30" fmla="*/ 2822 w 3306"/>
              <a:gd name="T31" fmla="*/ 484 h 2928"/>
              <a:gd name="T32" fmla="*/ 2553 w 3306"/>
              <a:gd name="T33" fmla="*/ 924 h 2928"/>
              <a:gd name="T34" fmla="*/ 2382 w 3306"/>
              <a:gd name="T35" fmla="*/ 924 h 2928"/>
              <a:gd name="T36" fmla="*/ 924 w 3306"/>
              <a:gd name="T37" fmla="*/ 2554 h 2928"/>
              <a:gd name="T38" fmla="*/ 570 w 3306"/>
              <a:gd name="T39" fmla="*/ 2858 h 2928"/>
              <a:gd name="T40" fmla="*/ 484 w 3306"/>
              <a:gd name="T41" fmla="*/ 2650 h 2928"/>
              <a:gd name="T42" fmla="*/ 924 w 3306"/>
              <a:gd name="T43" fmla="*/ 2382 h 2928"/>
              <a:gd name="T44" fmla="*/ 3185 w 3306"/>
              <a:gd name="T45" fmla="*/ 1775 h 2928"/>
              <a:gd name="T46" fmla="*/ 2684 w 3306"/>
              <a:gd name="T47" fmla="*/ 1653 h 2928"/>
              <a:gd name="T48" fmla="*/ 3185 w 3306"/>
              <a:gd name="T49" fmla="*/ 1532 h 2928"/>
              <a:gd name="T50" fmla="*/ 500 w 3306"/>
              <a:gd name="T51" fmla="*/ 1775 h 2928"/>
              <a:gd name="T52" fmla="*/ 0 w 3306"/>
              <a:gd name="T53" fmla="*/ 1653 h 2928"/>
              <a:gd name="T54" fmla="*/ 500 w 3306"/>
              <a:gd name="T55" fmla="*/ 1532 h 2928"/>
              <a:gd name="T56" fmla="*/ 500 w 3306"/>
              <a:gd name="T57" fmla="*/ 1775 h 2928"/>
              <a:gd name="T58" fmla="*/ 2822 w 3306"/>
              <a:gd name="T59" fmla="*/ 2822 h 2928"/>
              <a:gd name="T60" fmla="*/ 2650 w 3306"/>
              <a:gd name="T61" fmla="*/ 2822 h 2928"/>
              <a:gd name="T62" fmla="*/ 2382 w 3306"/>
              <a:gd name="T63" fmla="*/ 2382 h 2928"/>
              <a:gd name="T64" fmla="*/ 2822 w 3306"/>
              <a:gd name="T65" fmla="*/ 2650 h 2928"/>
              <a:gd name="T66" fmla="*/ 484 w 3306"/>
              <a:gd name="T67" fmla="*/ 484 h 2928"/>
              <a:gd name="T68" fmla="*/ 924 w 3306"/>
              <a:gd name="T69" fmla="*/ 752 h 2928"/>
              <a:gd name="T70" fmla="*/ 838 w 3306"/>
              <a:gd name="T71" fmla="*/ 960 h 2928"/>
              <a:gd name="T72" fmla="*/ 484 w 3306"/>
              <a:gd name="T73" fmla="*/ 656 h 2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306" h="2928">
                <a:moveTo>
                  <a:pt x="1653" y="751"/>
                </a:moveTo>
                <a:cubicBezTo>
                  <a:pt x="1155" y="751"/>
                  <a:pt x="751" y="1156"/>
                  <a:pt x="751" y="1653"/>
                </a:cubicBezTo>
                <a:cubicBezTo>
                  <a:pt x="751" y="1977"/>
                  <a:pt x="922" y="2260"/>
                  <a:pt x="1178" y="2420"/>
                </a:cubicBezTo>
                <a:cubicBezTo>
                  <a:pt x="1178" y="2807"/>
                  <a:pt x="1178" y="2807"/>
                  <a:pt x="1178" y="2807"/>
                </a:cubicBezTo>
                <a:cubicBezTo>
                  <a:pt x="1178" y="2874"/>
                  <a:pt x="1233" y="2928"/>
                  <a:pt x="1300" y="2928"/>
                </a:cubicBezTo>
                <a:cubicBezTo>
                  <a:pt x="2006" y="2928"/>
                  <a:pt x="2006" y="2928"/>
                  <a:pt x="2006" y="2928"/>
                </a:cubicBezTo>
                <a:cubicBezTo>
                  <a:pt x="2073" y="2928"/>
                  <a:pt x="2127" y="2874"/>
                  <a:pt x="2127" y="2807"/>
                </a:cubicBezTo>
                <a:cubicBezTo>
                  <a:pt x="2127" y="2420"/>
                  <a:pt x="2127" y="2420"/>
                  <a:pt x="2127" y="2420"/>
                </a:cubicBezTo>
                <a:cubicBezTo>
                  <a:pt x="2384" y="2260"/>
                  <a:pt x="2555" y="1977"/>
                  <a:pt x="2555" y="1653"/>
                </a:cubicBezTo>
                <a:cubicBezTo>
                  <a:pt x="2555" y="1156"/>
                  <a:pt x="2150" y="751"/>
                  <a:pt x="1653" y="751"/>
                </a:cubicBezTo>
                <a:close/>
                <a:moveTo>
                  <a:pt x="1884" y="2685"/>
                </a:moveTo>
                <a:cubicBezTo>
                  <a:pt x="1421" y="2685"/>
                  <a:pt x="1421" y="2685"/>
                  <a:pt x="1421" y="2685"/>
                </a:cubicBezTo>
                <a:cubicBezTo>
                  <a:pt x="1421" y="2525"/>
                  <a:pt x="1421" y="2525"/>
                  <a:pt x="1421" y="2525"/>
                </a:cubicBezTo>
                <a:cubicBezTo>
                  <a:pt x="1495" y="2544"/>
                  <a:pt x="1573" y="2555"/>
                  <a:pt x="1653" y="2555"/>
                </a:cubicBezTo>
                <a:cubicBezTo>
                  <a:pt x="1733" y="2555"/>
                  <a:pt x="1810" y="2544"/>
                  <a:pt x="1884" y="2525"/>
                </a:cubicBezTo>
                <a:lnTo>
                  <a:pt x="1884" y="2685"/>
                </a:lnTo>
                <a:close/>
                <a:moveTo>
                  <a:pt x="1653" y="2312"/>
                </a:moveTo>
                <a:cubicBezTo>
                  <a:pt x="1289" y="2312"/>
                  <a:pt x="994" y="2016"/>
                  <a:pt x="994" y="1653"/>
                </a:cubicBezTo>
                <a:cubicBezTo>
                  <a:pt x="994" y="1290"/>
                  <a:pt x="1289" y="994"/>
                  <a:pt x="1653" y="994"/>
                </a:cubicBezTo>
                <a:cubicBezTo>
                  <a:pt x="2016" y="994"/>
                  <a:pt x="2312" y="1290"/>
                  <a:pt x="2312" y="1653"/>
                </a:cubicBezTo>
                <a:cubicBezTo>
                  <a:pt x="2312" y="2016"/>
                  <a:pt x="2016" y="2312"/>
                  <a:pt x="1653" y="2312"/>
                </a:cubicBezTo>
                <a:close/>
                <a:moveTo>
                  <a:pt x="1532" y="501"/>
                </a:moveTo>
                <a:cubicBezTo>
                  <a:pt x="1532" y="121"/>
                  <a:pt x="1532" y="121"/>
                  <a:pt x="1532" y="121"/>
                </a:cubicBezTo>
                <a:cubicBezTo>
                  <a:pt x="1532" y="54"/>
                  <a:pt x="1586" y="0"/>
                  <a:pt x="1653" y="0"/>
                </a:cubicBezTo>
                <a:cubicBezTo>
                  <a:pt x="1720" y="0"/>
                  <a:pt x="1774" y="54"/>
                  <a:pt x="1774" y="121"/>
                </a:cubicBezTo>
                <a:cubicBezTo>
                  <a:pt x="1774" y="501"/>
                  <a:pt x="1774" y="501"/>
                  <a:pt x="1774" y="501"/>
                </a:cubicBezTo>
                <a:cubicBezTo>
                  <a:pt x="1774" y="568"/>
                  <a:pt x="1720" y="622"/>
                  <a:pt x="1653" y="622"/>
                </a:cubicBezTo>
                <a:cubicBezTo>
                  <a:pt x="1586" y="622"/>
                  <a:pt x="1532" y="568"/>
                  <a:pt x="1532" y="501"/>
                </a:cubicBezTo>
                <a:close/>
                <a:moveTo>
                  <a:pt x="2382" y="924"/>
                </a:moveTo>
                <a:cubicBezTo>
                  <a:pt x="2334" y="877"/>
                  <a:pt x="2334" y="800"/>
                  <a:pt x="2382" y="752"/>
                </a:cubicBezTo>
                <a:cubicBezTo>
                  <a:pt x="2650" y="484"/>
                  <a:pt x="2650" y="484"/>
                  <a:pt x="2650" y="484"/>
                </a:cubicBezTo>
                <a:cubicBezTo>
                  <a:pt x="2697" y="437"/>
                  <a:pt x="2774" y="437"/>
                  <a:pt x="2822" y="484"/>
                </a:cubicBezTo>
                <a:cubicBezTo>
                  <a:pt x="2869" y="531"/>
                  <a:pt x="2869" y="608"/>
                  <a:pt x="2822" y="656"/>
                </a:cubicBezTo>
                <a:cubicBezTo>
                  <a:pt x="2553" y="924"/>
                  <a:pt x="2553" y="924"/>
                  <a:pt x="2553" y="924"/>
                </a:cubicBezTo>
                <a:cubicBezTo>
                  <a:pt x="2530" y="948"/>
                  <a:pt x="2499" y="960"/>
                  <a:pt x="2468" y="960"/>
                </a:cubicBezTo>
                <a:cubicBezTo>
                  <a:pt x="2436" y="960"/>
                  <a:pt x="2405" y="948"/>
                  <a:pt x="2382" y="924"/>
                </a:cubicBezTo>
                <a:close/>
                <a:moveTo>
                  <a:pt x="924" y="2382"/>
                </a:moveTo>
                <a:cubicBezTo>
                  <a:pt x="971" y="2429"/>
                  <a:pt x="971" y="2506"/>
                  <a:pt x="924" y="2554"/>
                </a:cubicBezTo>
                <a:cubicBezTo>
                  <a:pt x="656" y="2822"/>
                  <a:pt x="656" y="2822"/>
                  <a:pt x="656" y="2822"/>
                </a:cubicBezTo>
                <a:cubicBezTo>
                  <a:pt x="632" y="2846"/>
                  <a:pt x="600" y="2858"/>
                  <a:pt x="570" y="2858"/>
                </a:cubicBezTo>
                <a:cubicBezTo>
                  <a:pt x="539" y="2858"/>
                  <a:pt x="507" y="2846"/>
                  <a:pt x="484" y="2822"/>
                </a:cubicBezTo>
                <a:cubicBezTo>
                  <a:pt x="436" y="2775"/>
                  <a:pt x="436" y="2698"/>
                  <a:pt x="484" y="2650"/>
                </a:cubicBezTo>
                <a:cubicBezTo>
                  <a:pt x="752" y="2382"/>
                  <a:pt x="752" y="2382"/>
                  <a:pt x="752" y="2382"/>
                </a:cubicBezTo>
                <a:cubicBezTo>
                  <a:pt x="800" y="2335"/>
                  <a:pt x="877" y="2335"/>
                  <a:pt x="924" y="2382"/>
                </a:cubicBezTo>
                <a:close/>
                <a:moveTo>
                  <a:pt x="3306" y="1653"/>
                </a:moveTo>
                <a:cubicBezTo>
                  <a:pt x="3306" y="1720"/>
                  <a:pt x="3252" y="1775"/>
                  <a:pt x="3185" y="1775"/>
                </a:cubicBezTo>
                <a:cubicBezTo>
                  <a:pt x="2805" y="1775"/>
                  <a:pt x="2805" y="1775"/>
                  <a:pt x="2805" y="1775"/>
                </a:cubicBezTo>
                <a:cubicBezTo>
                  <a:pt x="2738" y="1775"/>
                  <a:pt x="2684" y="1720"/>
                  <a:pt x="2684" y="1653"/>
                </a:cubicBezTo>
                <a:cubicBezTo>
                  <a:pt x="2684" y="1586"/>
                  <a:pt x="2738" y="1532"/>
                  <a:pt x="2805" y="1532"/>
                </a:cubicBezTo>
                <a:cubicBezTo>
                  <a:pt x="3185" y="1532"/>
                  <a:pt x="3185" y="1532"/>
                  <a:pt x="3185" y="1532"/>
                </a:cubicBezTo>
                <a:cubicBezTo>
                  <a:pt x="3252" y="1532"/>
                  <a:pt x="3306" y="1586"/>
                  <a:pt x="3306" y="1653"/>
                </a:cubicBezTo>
                <a:close/>
                <a:moveTo>
                  <a:pt x="500" y="1775"/>
                </a:moveTo>
                <a:cubicBezTo>
                  <a:pt x="121" y="1775"/>
                  <a:pt x="121" y="1775"/>
                  <a:pt x="121" y="1775"/>
                </a:cubicBezTo>
                <a:cubicBezTo>
                  <a:pt x="54" y="1775"/>
                  <a:pt x="0" y="1720"/>
                  <a:pt x="0" y="1653"/>
                </a:cubicBezTo>
                <a:cubicBezTo>
                  <a:pt x="0" y="1586"/>
                  <a:pt x="54" y="1532"/>
                  <a:pt x="121" y="1532"/>
                </a:cubicBezTo>
                <a:cubicBezTo>
                  <a:pt x="500" y="1532"/>
                  <a:pt x="500" y="1532"/>
                  <a:pt x="500" y="1532"/>
                </a:cubicBezTo>
                <a:cubicBezTo>
                  <a:pt x="568" y="1532"/>
                  <a:pt x="622" y="1586"/>
                  <a:pt x="622" y="1653"/>
                </a:cubicBezTo>
                <a:cubicBezTo>
                  <a:pt x="622" y="1720"/>
                  <a:pt x="568" y="1775"/>
                  <a:pt x="500" y="1775"/>
                </a:cubicBezTo>
                <a:close/>
                <a:moveTo>
                  <a:pt x="2822" y="2650"/>
                </a:moveTo>
                <a:cubicBezTo>
                  <a:pt x="2869" y="2698"/>
                  <a:pt x="2869" y="2775"/>
                  <a:pt x="2822" y="2822"/>
                </a:cubicBezTo>
                <a:cubicBezTo>
                  <a:pt x="2798" y="2846"/>
                  <a:pt x="2767" y="2857"/>
                  <a:pt x="2736" y="2857"/>
                </a:cubicBezTo>
                <a:cubicBezTo>
                  <a:pt x="2705" y="2857"/>
                  <a:pt x="2674" y="2846"/>
                  <a:pt x="2650" y="2822"/>
                </a:cubicBezTo>
                <a:cubicBezTo>
                  <a:pt x="2382" y="2554"/>
                  <a:pt x="2382" y="2554"/>
                  <a:pt x="2382" y="2554"/>
                </a:cubicBezTo>
                <a:cubicBezTo>
                  <a:pt x="2334" y="2506"/>
                  <a:pt x="2334" y="2429"/>
                  <a:pt x="2382" y="2382"/>
                </a:cubicBezTo>
                <a:cubicBezTo>
                  <a:pt x="2429" y="2335"/>
                  <a:pt x="2506" y="2335"/>
                  <a:pt x="2553" y="2382"/>
                </a:cubicBezTo>
                <a:lnTo>
                  <a:pt x="2822" y="2650"/>
                </a:lnTo>
                <a:close/>
                <a:moveTo>
                  <a:pt x="484" y="656"/>
                </a:moveTo>
                <a:cubicBezTo>
                  <a:pt x="436" y="608"/>
                  <a:pt x="436" y="531"/>
                  <a:pt x="484" y="484"/>
                </a:cubicBezTo>
                <a:cubicBezTo>
                  <a:pt x="531" y="437"/>
                  <a:pt x="608" y="437"/>
                  <a:pt x="656" y="484"/>
                </a:cubicBezTo>
                <a:cubicBezTo>
                  <a:pt x="924" y="752"/>
                  <a:pt x="924" y="752"/>
                  <a:pt x="924" y="752"/>
                </a:cubicBezTo>
                <a:cubicBezTo>
                  <a:pt x="971" y="800"/>
                  <a:pt x="971" y="877"/>
                  <a:pt x="924" y="924"/>
                </a:cubicBezTo>
                <a:cubicBezTo>
                  <a:pt x="900" y="948"/>
                  <a:pt x="869" y="960"/>
                  <a:pt x="838" y="960"/>
                </a:cubicBezTo>
                <a:cubicBezTo>
                  <a:pt x="807" y="960"/>
                  <a:pt x="776" y="948"/>
                  <a:pt x="752" y="924"/>
                </a:cubicBezTo>
                <a:lnTo>
                  <a:pt x="484" y="6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4" name="Picture 40" descr="C:\Users\sakuu\Documents\Ballmer WPC\PNGS\TV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955" y="2403688"/>
            <a:ext cx="365575" cy="35161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TextBox 1"/>
          <p:cNvSpPr txBox="1"/>
          <p:nvPr/>
        </p:nvSpPr>
        <p:spPr>
          <a:xfrm rot="2688533">
            <a:off x="2490608" y="3248023"/>
            <a:ext cx="154934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Private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6" name="TextBox 27"/>
          <p:cNvSpPr txBox="1"/>
          <p:nvPr/>
        </p:nvSpPr>
        <p:spPr>
          <a:xfrm rot="2688533">
            <a:off x="3651461" y="3242000"/>
            <a:ext cx="139567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Community </a:t>
            </a:r>
          </a:p>
        </p:txBody>
      </p:sp>
      <p:sp>
        <p:nvSpPr>
          <p:cNvPr id="157" name="TextBox 28"/>
          <p:cNvSpPr txBox="1"/>
          <p:nvPr/>
        </p:nvSpPr>
        <p:spPr>
          <a:xfrm rot="18869514">
            <a:off x="7127277" y="3111962"/>
            <a:ext cx="1395673" cy="2941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98954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spc="-77" dirty="0">
                <a:solidFill>
                  <a:schemeClr val="bg1"/>
                </a:solidFill>
              </a:rPr>
              <a:t>Public Cloud</a:t>
            </a:r>
          </a:p>
        </p:txBody>
      </p:sp>
      <p:sp>
        <p:nvSpPr>
          <p:cNvPr id="158" name="TextBox 29"/>
          <p:cNvSpPr txBox="1"/>
          <p:nvPr/>
        </p:nvSpPr>
        <p:spPr>
          <a:xfrm rot="18869514">
            <a:off x="8153713" y="2999037"/>
            <a:ext cx="1640467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Hybrid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9" name="TextBox 30"/>
          <p:cNvSpPr txBox="1"/>
          <p:nvPr/>
        </p:nvSpPr>
        <p:spPr>
          <a:xfrm>
            <a:off x="5412335" y="3216725"/>
            <a:ext cx="1395673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chemeClr val="bg1"/>
                </a:solidFill>
              </a:rPr>
              <a:t>YOUR TEX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0" name="组合 159"/>
          <p:cNvGrpSpPr/>
          <p:nvPr/>
        </p:nvGrpSpPr>
        <p:grpSpPr>
          <a:xfrm>
            <a:off x="2515672" y="4141300"/>
            <a:ext cx="1407863" cy="1214612"/>
            <a:chOff x="798679" y="5419437"/>
            <a:chExt cx="1407863" cy="121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文本框 160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67198" y="579553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3" name="矩形 162"/>
            <p:cNvSpPr/>
            <p:nvPr/>
          </p:nvSpPr>
          <p:spPr>
            <a:xfrm>
              <a:off x="803373" y="6003107"/>
              <a:ext cx="140316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3934178" y="4141300"/>
            <a:ext cx="1344026" cy="1230360"/>
            <a:chOff x="787664" y="5419437"/>
            <a:chExt cx="1344026" cy="12303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文本框 164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913737" y="579444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787664" y="6018855"/>
              <a:ext cx="134402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组合 167"/>
          <p:cNvGrpSpPr/>
          <p:nvPr/>
        </p:nvGrpSpPr>
        <p:grpSpPr>
          <a:xfrm>
            <a:off x="6765808" y="4141300"/>
            <a:ext cx="1398231" cy="1264313"/>
            <a:chOff x="798679" y="5419437"/>
            <a:chExt cx="1398231" cy="1264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文本框 168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7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940917" y="579451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/>
          </p:nvSpPr>
          <p:spPr>
            <a:xfrm>
              <a:off x="803374" y="6052808"/>
              <a:ext cx="139353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232545" y="4141300"/>
            <a:ext cx="1343788" cy="1266074"/>
            <a:chOff x="798679" y="5419437"/>
            <a:chExt cx="1343788" cy="1266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文本框 172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8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977725" y="581276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818873" y="6054569"/>
              <a:ext cx="1323594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7" name="组合 17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4" name="矩形 18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5" name="文本框 18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6" name="文本框 18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91" name="直接连接符 19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椭圆 19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93" name="文本框 19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组合 17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2" name="六边形 18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9" name="组合 17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56757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5731122" y="995799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232715" y="2057620"/>
            <a:ext cx="1715634" cy="545628"/>
            <a:chOff x="730474" y="5060899"/>
            <a:chExt cx="2494182" cy="793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372622" y="2824947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866647" y="3282771"/>
            <a:ext cx="458705" cy="184283"/>
            <a:chOff x="7649018" y="3218533"/>
            <a:chExt cx="458705" cy="184283"/>
          </a:xfrm>
        </p:grpSpPr>
        <p:grpSp>
          <p:nvGrpSpPr>
            <p:cNvPr id="84" name="组合 83"/>
            <p:cNvGrpSpPr/>
            <p:nvPr/>
          </p:nvGrpSpPr>
          <p:grpSpPr>
            <a:xfrm>
              <a:off x="7649018" y="3218533"/>
              <a:ext cx="458705" cy="184283"/>
              <a:chOff x="11107842" y="6201641"/>
              <a:chExt cx="458705" cy="184283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5400000">
                <a:off x="11389028" y="6207852"/>
                <a:ext cx="183730" cy="171309"/>
              </a:xfrm>
              <a:prstGeom prst="rect">
                <a:avLst/>
              </a:prstGeom>
            </p:spPr>
          </p:pic>
          <p:pic>
            <p:nvPicPr>
              <p:cNvPr id="86" name="图片 85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16200000" flipH="1">
                <a:off x="11101633" y="6207852"/>
                <a:ext cx="183727" cy="171309"/>
              </a:xfrm>
              <a:prstGeom prst="rect">
                <a:avLst/>
              </a:prstGeom>
            </p:spPr>
          </p:pic>
          <p:sp>
            <p:nvSpPr>
              <p:cNvPr id="87" name="六边形 86"/>
              <p:cNvSpPr/>
              <p:nvPr/>
            </p:nvSpPr>
            <p:spPr>
              <a:xfrm>
                <a:off x="11225996" y="6201641"/>
                <a:ext cx="216889" cy="184283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0" name="Freeform 82"/>
            <p:cNvSpPr>
              <a:spLocks/>
            </p:cNvSpPr>
            <p:nvPr/>
          </p:nvSpPr>
          <p:spPr bwMode="auto">
            <a:xfrm>
              <a:off x="7815177" y="3233811"/>
              <a:ext cx="124306" cy="149319"/>
            </a:xfrm>
            <a:custGeom>
              <a:avLst/>
              <a:gdLst>
                <a:gd name="T0" fmla="*/ 332 w 332"/>
                <a:gd name="T1" fmla="*/ 266 h 399"/>
                <a:gd name="T2" fmla="*/ 332 w 332"/>
                <a:gd name="T3" fmla="*/ 199 h 399"/>
                <a:gd name="T4" fmla="*/ 200 w 332"/>
                <a:gd name="T5" fmla="*/ 134 h 399"/>
                <a:gd name="T6" fmla="*/ 199 w 332"/>
                <a:gd name="T7" fmla="*/ 134 h 399"/>
                <a:gd name="T8" fmla="*/ 199 w 332"/>
                <a:gd name="T9" fmla="*/ 32 h 399"/>
                <a:gd name="T10" fmla="*/ 199 w 332"/>
                <a:gd name="T11" fmla="*/ 32 h 399"/>
                <a:gd name="T12" fmla="*/ 166 w 332"/>
                <a:gd name="T13" fmla="*/ 0 h 399"/>
                <a:gd name="T14" fmla="*/ 133 w 332"/>
                <a:gd name="T15" fmla="*/ 32 h 399"/>
                <a:gd name="T16" fmla="*/ 133 w 332"/>
                <a:gd name="T17" fmla="*/ 32 h 399"/>
                <a:gd name="T18" fmla="*/ 133 w 332"/>
                <a:gd name="T19" fmla="*/ 134 h 399"/>
                <a:gd name="T20" fmla="*/ 0 w 332"/>
                <a:gd name="T21" fmla="*/ 199 h 399"/>
                <a:gd name="T22" fmla="*/ 0 w 332"/>
                <a:gd name="T23" fmla="*/ 266 h 399"/>
                <a:gd name="T24" fmla="*/ 133 w 332"/>
                <a:gd name="T25" fmla="*/ 213 h 399"/>
                <a:gd name="T26" fmla="*/ 133 w 332"/>
                <a:gd name="T27" fmla="*/ 328 h 399"/>
                <a:gd name="T28" fmla="*/ 99 w 332"/>
                <a:gd name="T29" fmla="*/ 354 h 399"/>
                <a:gd name="T30" fmla="*/ 99 w 332"/>
                <a:gd name="T31" fmla="*/ 399 h 399"/>
                <a:gd name="T32" fmla="*/ 166 w 332"/>
                <a:gd name="T33" fmla="*/ 365 h 399"/>
                <a:gd name="T34" fmla="*/ 232 w 332"/>
                <a:gd name="T35" fmla="*/ 399 h 399"/>
                <a:gd name="T36" fmla="*/ 232 w 332"/>
                <a:gd name="T37" fmla="*/ 354 h 399"/>
                <a:gd name="T38" fmla="*/ 199 w 332"/>
                <a:gd name="T39" fmla="*/ 329 h 399"/>
                <a:gd name="T40" fmla="*/ 199 w 332"/>
                <a:gd name="T41" fmla="*/ 213 h 399"/>
                <a:gd name="T42" fmla="*/ 332 w 332"/>
                <a:gd name="T43" fmla="*/ 26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2" h="399">
                  <a:moveTo>
                    <a:pt x="332" y="266"/>
                  </a:moveTo>
                  <a:cubicBezTo>
                    <a:pt x="332" y="199"/>
                    <a:pt x="332" y="199"/>
                    <a:pt x="332" y="199"/>
                  </a:cubicBezTo>
                  <a:cubicBezTo>
                    <a:pt x="200" y="134"/>
                    <a:pt x="200" y="134"/>
                    <a:pt x="200" y="134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8" y="14"/>
                    <a:pt x="184" y="0"/>
                    <a:pt x="166" y="0"/>
                  </a:cubicBezTo>
                  <a:cubicBezTo>
                    <a:pt x="148" y="0"/>
                    <a:pt x="133" y="14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9" y="137"/>
                    <a:pt x="0" y="199"/>
                    <a:pt x="0" y="19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133" y="213"/>
                    <a:pt x="133" y="213"/>
                    <a:pt x="133" y="213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19" y="338"/>
                    <a:pt x="99" y="354"/>
                    <a:pt x="99" y="354"/>
                  </a:cubicBezTo>
                  <a:cubicBezTo>
                    <a:pt x="99" y="399"/>
                    <a:pt x="99" y="399"/>
                    <a:pt x="99" y="399"/>
                  </a:cubicBezTo>
                  <a:cubicBezTo>
                    <a:pt x="166" y="365"/>
                    <a:pt x="166" y="365"/>
                    <a:pt x="166" y="365"/>
                  </a:cubicBezTo>
                  <a:cubicBezTo>
                    <a:pt x="232" y="399"/>
                    <a:pt x="232" y="399"/>
                    <a:pt x="232" y="399"/>
                  </a:cubicBezTo>
                  <a:cubicBezTo>
                    <a:pt x="232" y="354"/>
                    <a:pt x="232" y="354"/>
                    <a:pt x="232" y="354"/>
                  </a:cubicBezTo>
                  <a:cubicBezTo>
                    <a:pt x="199" y="329"/>
                    <a:pt x="199" y="329"/>
                    <a:pt x="199" y="329"/>
                  </a:cubicBezTo>
                  <a:cubicBezTo>
                    <a:pt x="199" y="213"/>
                    <a:pt x="199" y="213"/>
                    <a:pt x="199" y="213"/>
                  </a:cubicBezTo>
                  <a:lnTo>
                    <a:pt x="332" y="2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1" tIns="34286" rIns="68571" bIns="34286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矩形 66"/>
          <p:cNvSpPr/>
          <p:nvPr/>
        </p:nvSpPr>
        <p:spPr>
          <a:xfrm>
            <a:off x="3099432" y="3689937"/>
            <a:ext cx="60960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yon - </a:t>
            </a:r>
            <a:r>
              <a:rPr lang="en-US" altLang="zh-CN" sz="2000" dirty="0" err="1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Dubaï</a:t>
            </a:r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 - Worldwide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For a top of the range, made-to-measure aquarium.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Whatever your location.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7, rue Robert </a:t>
            </a:r>
            <a:r>
              <a:rPr lang="en-US" altLang="zh-CN" dirty="0" err="1">
                <a:solidFill>
                  <a:srgbClr val="FFFFFF"/>
                </a:solidFill>
              </a:rPr>
              <a:t>Reynier</a:t>
            </a:r>
            <a:r>
              <a:rPr lang="en-US" altLang="zh-CN" dirty="0">
                <a:solidFill>
                  <a:srgbClr val="FFFFFF"/>
                </a:solidFill>
              </a:rPr>
              <a:t> - 69190 Saint </a:t>
            </a:r>
            <a:r>
              <a:rPr lang="en-US" altLang="zh-CN" dirty="0" err="1">
                <a:solidFill>
                  <a:srgbClr val="FFFFFF"/>
                </a:solidFill>
              </a:rPr>
              <a:t>Fons</a:t>
            </a:r>
            <a:r>
              <a:rPr lang="en-US" altLang="zh-CN" dirty="0">
                <a:solidFill>
                  <a:srgbClr val="FFFFFF"/>
                </a:solidFill>
              </a:rPr>
              <a:t>, France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// </a:t>
            </a: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54014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4116994" y="2706457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046017" y="3136086"/>
            <a:ext cx="893046" cy="284018"/>
            <a:chOff x="730474" y="5060899"/>
            <a:chExt cx="2494182" cy="793231"/>
          </a:xfrm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891331" y="310768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84" name="组合 83"/>
          <p:cNvGrpSpPr/>
          <p:nvPr/>
        </p:nvGrpSpPr>
        <p:grpSpPr>
          <a:xfrm>
            <a:off x="7578459" y="3197651"/>
            <a:ext cx="458705" cy="184283"/>
            <a:chOff x="11107842" y="6201641"/>
            <a:chExt cx="458705" cy="184283"/>
          </a:xfrm>
        </p:grpSpPr>
        <p:pic>
          <p:nvPicPr>
            <p:cNvPr id="85" name="图片 8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87" name="六边形 86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Freeform 82"/>
          <p:cNvSpPr>
            <a:spLocks/>
          </p:cNvSpPr>
          <p:nvPr/>
        </p:nvSpPr>
        <p:spPr bwMode="auto">
          <a:xfrm>
            <a:off x="7744618" y="3212929"/>
            <a:ext cx="124306" cy="149319"/>
          </a:xfrm>
          <a:custGeom>
            <a:avLst/>
            <a:gdLst>
              <a:gd name="T0" fmla="*/ 332 w 332"/>
              <a:gd name="T1" fmla="*/ 266 h 399"/>
              <a:gd name="T2" fmla="*/ 332 w 332"/>
              <a:gd name="T3" fmla="*/ 199 h 399"/>
              <a:gd name="T4" fmla="*/ 200 w 332"/>
              <a:gd name="T5" fmla="*/ 134 h 399"/>
              <a:gd name="T6" fmla="*/ 199 w 332"/>
              <a:gd name="T7" fmla="*/ 134 h 399"/>
              <a:gd name="T8" fmla="*/ 199 w 332"/>
              <a:gd name="T9" fmla="*/ 32 h 399"/>
              <a:gd name="T10" fmla="*/ 199 w 332"/>
              <a:gd name="T11" fmla="*/ 32 h 399"/>
              <a:gd name="T12" fmla="*/ 166 w 332"/>
              <a:gd name="T13" fmla="*/ 0 h 399"/>
              <a:gd name="T14" fmla="*/ 133 w 332"/>
              <a:gd name="T15" fmla="*/ 32 h 399"/>
              <a:gd name="T16" fmla="*/ 133 w 332"/>
              <a:gd name="T17" fmla="*/ 32 h 399"/>
              <a:gd name="T18" fmla="*/ 133 w 332"/>
              <a:gd name="T19" fmla="*/ 134 h 399"/>
              <a:gd name="T20" fmla="*/ 0 w 332"/>
              <a:gd name="T21" fmla="*/ 199 h 399"/>
              <a:gd name="T22" fmla="*/ 0 w 332"/>
              <a:gd name="T23" fmla="*/ 266 h 399"/>
              <a:gd name="T24" fmla="*/ 133 w 332"/>
              <a:gd name="T25" fmla="*/ 213 h 399"/>
              <a:gd name="T26" fmla="*/ 133 w 332"/>
              <a:gd name="T27" fmla="*/ 328 h 399"/>
              <a:gd name="T28" fmla="*/ 99 w 332"/>
              <a:gd name="T29" fmla="*/ 354 h 399"/>
              <a:gd name="T30" fmla="*/ 99 w 332"/>
              <a:gd name="T31" fmla="*/ 399 h 399"/>
              <a:gd name="T32" fmla="*/ 166 w 332"/>
              <a:gd name="T33" fmla="*/ 365 h 399"/>
              <a:gd name="T34" fmla="*/ 232 w 332"/>
              <a:gd name="T35" fmla="*/ 399 h 399"/>
              <a:gd name="T36" fmla="*/ 232 w 332"/>
              <a:gd name="T37" fmla="*/ 354 h 399"/>
              <a:gd name="T38" fmla="*/ 199 w 332"/>
              <a:gd name="T39" fmla="*/ 329 h 399"/>
              <a:gd name="T40" fmla="*/ 199 w 332"/>
              <a:gd name="T41" fmla="*/ 213 h 399"/>
              <a:gd name="T42" fmla="*/ 332 w 332"/>
              <a:gd name="T43" fmla="*/ 266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2" h="399">
                <a:moveTo>
                  <a:pt x="332" y="266"/>
                </a:moveTo>
                <a:cubicBezTo>
                  <a:pt x="332" y="199"/>
                  <a:pt x="332" y="199"/>
                  <a:pt x="332" y="199"/>
                </a:cubicBezTo>
                <a:cubicBezTo>
                  <a:pt x="200" y="134"/>
                  <a:pt x="200" y="134"/>
                  <a:pt x="200" y="134"/>
                </a:cubicBezTo>
                <a:cubicBezTo>
                  <a:pt x="199" y="134"/>
                  <a:pt x="199" y="134"/>
                  <a:pt x="199" y="134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8" y="14"/>
                  <a:pt x="184" y="0"/>
                  <a:pt x="166" y="0"/>
                </a:cubicBezTo>
                <a:cubicBezTo>
                  <a:pt x="148" y="0"/>
                  <a:pt x="133" y="14"/>
                  <a:pt x="133" y="32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19" y="137"/>
                  <a:pt x="0" y="199"/>
                  <a:pt x="0" y="199"/>
                </a:cubicBezTo>
                <a:cubicBezTo>
                  <a:pt x="0" y="266"/>
                  <a:pt x="0" y="266"/>
                  <a:pt x="0" y="26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19" y="338"/>
                  <a:pt x="99" y="354"/>
                  <a:pt x="99" y="354"/>
                </a:cubicBezTo>
                <a:cubicBezTo>
                  <a:pt x="99" y="399"/>
                  <a:pt x="99" y="399"/>
                  <a:pt x="99" y="399"/>
                </a:cubicBezTo>
                <a:cubicBezTo>
                  <a:pt x="166" y="365"/>
                  <a:pt x="166" y="365"/>
                  <a:pt x="166" y="365"/>
                </a:cubicBezTo>
                <a:cubicBezTo>
                  <a:pt x="232" y="399"/>
                  <a:pt x="232" y="399"/>
                  <a:pt x="232" y="399"/>
                </a:cubicBezTo>
                <a:cubicBezTo>
                  <a:pt x="232" y="354"/>
                  <a:pt x="232" y="354"/>
                  <a:pt x="232" y="354"/>
                </a:cubicBezTo>
                <a:cubicBezTo>
                  <a:pt x="199" y="329"/>
                  <a:pt x="199" y="329"/>
                  <a:pt x="199" y="329"/>
                </a:cubicBezTo>
                <a:cubicBezTo>
                  <a:pt x="199" y="213"/>
                  <a:pt x="199" y="213"/>
                  <a:pt x="199" y="213"/>
                </a:cubicBezTo>
                <a:lnTo>
                  <a:pt x="332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69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503" y="2568273"/>
            <a:ext cx="3577217" cy="1591060"/>
          </a:xfrm>
          <a:prstGeom prst="rect">
            <a:avLst/>
          </a:prstGeom>
        </p:spPr>
      </p:pic>
      <p:cxnSp>
        <p:nvCxnSpPr>
          <p:cNvPr id="28" name="直接连接符 27"/>
          <p:cNvCxnSpPr/>
          <p:nvPr/>
        </p:nvCxnSpPr>
        <p:spPr>
          <a:xfrm flipV="1">
            <a:off x="4876800" y="2568273"/>
            <a:ext cx="0" cy="1569661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029200" y="2568273"/>
            <a:ext cx="5532284" cy="1569660"/>
          </a:xfrm>
          <a:prstGeom prst="rect">
            <a:avLst/>
          </a:prstGeom>
          <a:solidFill>
            <a:srgbClr val="EE3551"/>
          </a:solidFill>
        </p:spPr>
        <p:txBody>
          <a:bodyPr wrap="none" rtlCol="0">
            <a:spAutoFit/>
          </a:bodyPr>
          <a:lstStyle/>
          <a:p>
            <a:r>
              <a:rPr lang="en-US" altLang="zh-CN" sz="9600" dirty="0" smtClean="0">
                <a:solidFill>
                  <a:schemeClr val="bg1"/>
                </a:solidFill>
                <a:latin typeface="Impact" panose="020B0806030902050204" pitchFamily="34" charset="0"/>
              </a:rPr>
              <a:t>THANK YOU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3849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46" name="组合 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椭圆 62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53" name="六边形 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51" name="六边形 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597" y="1629381"/>
            <a:ext cx="2643233" cy="2643233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4688585" y="2632637"/>
            <a:ext cx="3929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GO LIVE FOR THE HEALTHY </a:t>
            </a:r>
            <a:endParaRPr lang="en-US" altLang="zh-CN" dirty="0" smtClean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  <a:p>
            <a:r>
              <a:rPr lang="en-US" altLang="zh-CN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SEAS </a:t>
            </a:r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INITIATIVE!</a:t>
            </a:r>
            <a:endParaRPr lang="zh-CN" altLang="en-US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697200" y="3220851"/>
            <a:ext cx="73265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If you wish to follow step by step our growing initiative for the sea, now you have every possible connection</a:t>
            </a:r>
            <a:r>
              <a:rPr lang="en-US" altLang="zh-CN" sz="1100" dirty="0" smtClean="0">
                <a:solidFill>
                  <a:schemeClr val="bg1"/>
                </a:solidFill>
              </a:rPr>
              <a:t>!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Blog: </a:t>
            </a:r>
            <a:r>
              <a:rPr lang="en-US" altLang="zh-CN" sz="1100" dirty="0" smtClean="0">
                <a:solidFill>
                  <a:schemeClr val="bg1"/>
                </a:solidFill>
              </a:rPr>
              <a:t>www.12345678.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Twitter: </a:t>
            </a:r>
            <a:r>
              <a:rPr lang="en-US" altLang="zh-CN" sz="1100" dirty="0" smtClean="0">
                <a:solidFill>
                  <a:schemeClr val="bg1"/>
                </a:solidFill>
              </a:rPr>
              <a:t>@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_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Facebook: 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We will share every step of our initiative with all communities and we will discuss interesting news on marine conservation, ghost fishing, recycling and sustainable brands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4673294" y="2673413"/>
            <a:ext cx="0" cy="504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687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04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t="20012" b="23305"/>
          <a:stretch/>
        </p:blipFill>
        <p:spPr bwMode="auto">
          <a:xfrm>
            <a:off x="791034" y="1656272"/>
            <a:ext cx="6770349" cy="42614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2" name="组合 71"/>
          <p:cNvGrpSpPr/>
          <p:nvPr/>
        </p:nvGrpSpPr>
        <p:grpSpPr>
          <a:xfrm>
            <a:off x="6095999" y="2456239"/>
            <a:ext cx="588623" cy="300019"/>
            <a:chOff x="6095999" y="2456239"/>
            <a:chExt cx="588623" cy="300019"/>
          </a:xfrm>
        </p:grpSpPr>
        <p:grpSp>
          <p:nvGrpSpPr>
            <p:cNvPr id="70" name="组合 69"/>
            <p:cNvGrpSpPr/>
            <p:nvPr/>
          </p:nvGrpSpPr>
          <p:grpSpPr>
            <a:xfrm>
              <a:off x="6095999" y="2456239"/>
              <a:ext cx="588623" cy="243463"/>
              <a:chOff x="5985850" y="2345978"/>
              <a:chExt cx="588623" cy="2434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6" name="组合 55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99" name="六边形 9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等腰三角形 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8" name="文本框 57"/>
              <p:cNvSpPr txBox="1"/>
              <p:nvPr/>
            </p:nvSpPr>
            <p:spPr>
              <a:xfrm>
                <a:off x="5985850" y="2345978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71" name="椭圆 70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5058539" y="3278991"/>
            <a:ext cx="588623" cy="300018"/>
            <a:chOff x="6095999" y="2456240"/>
            <a:chExt cx="588623" cy="300018"/>
          </a:xfrm>
        </p:grpSpPr>
        <p:grpSp>
          <p:nvGrpSpPr>
            <p:cNvPr id="101" name="组合 100"/>
            <p:cNvGrpSpPr/>
            <p:nvPr/>
          </p:nvGrpSpPr>
          <p:grpSpPr>
            <a:xfrm>
              <a:off x="6095999" y="2456240"/>
              <a:ext cx="588623" cy="243462"/>
              <a:chOff x="5985850" y="2345979"/>
              <a:chExt cx="588623" cy="24346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3" name="组合 102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5" name="六边形 104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6" name="等腰三角形 105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" name="文本框 103"/>
              <p:cNvSpPr txBox="1"/>
              <p:nvPr/>
            </p:nvSpPr>
            <p:spPr>
              <a:xfrm>
                <a:off x="5985850" y="234597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2" name="椭圆 101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2266402" y="2697058"/>
            <a:ext cx="588623" cy="295873"/>
            <a:chOff x="6095999" y="2460385"/>
            <a:chExt cx="588623" cy="295873"/>
          </a:xfrm>
        </p:grpSpPr>
        <p:grpSp>
          <p:nvGrpSpPr>
            <p:cNvPr id="108" name="组合 107"/>
            <p:cNvGrpSpPr/>
            <p:nvPr/>
          </p:nvGrpSpPr>
          <p:grpSpPr>
            <a:xfrm>
              <a:off x="6095999" y="2460385"/>
              <a:ext cx="588623" cy="239317"/>
              <a:chOff x="5985850" y="2350124"/>
              <a:chExt cx="588623" cy="23931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0" name="组合 109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2" name="六边形 111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3" name="等腰三角形 112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1" name="文本框 110"/>
              <p:cNvSpPr txBox="1"/>
              <p:nvPr/>
            </p:nvSpPr>
            <p:spPr>
              <a:xfrm>
                <a:off x="5985850" y="2350124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9" name="椭圆 108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4" name="组合 113"/>
          <p:cNvGrpSpPr/>
          <p:nvPr/>
        </p:nvGrpSpPr>
        <p:grpSpPr>
          <a:xfrm>
            <a:off x="6467193" y="4363427"/>
            <a:ext cx="588623" cy="276608"/>
            <a:chOff x="6083860" y="2479650"/>
            <a:chExt cx="588623" cy="27660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6083860" y="2479650"/>
              <a:ext cx="588623" cy="235366"/>
              <a:chOff x="5973711" y="2369389"/>
              <a:chExt cx="588623" cy="23536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7" name="组合 11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9" name="六边形 11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0" name="等腰三角形 11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8" name="文本框 117"/>
              <p:cNvSpPr txBox="1"/>
              <p:nvPr/>
            </p:nvSpPr>
            <p:spPr>
              <a:xfrm>
                <a:off x="5973711" y="2373923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6" name="椭圆 11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1" name="组合 120"/>
          <p:cNvGrpSpPr/>
          <p:nvPr/>
        </p:nvGrpSpPr>
        <p:grpSpPr>
          <a:xfrm>
            <a:off x="2499072" y="3639809"/>
            <a:ext cx="588623" cy="304188"/>
            <a:chOff x="6095999" y="2452070"/>
            <a:chExt cx="588623" cy="30418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6095999" y="2452070"/>
              <a:ext cx="588623" cy="247632"/>
              <a:chOff x="5985850" y="2341809"/>
              <a:chExt cx="588623" cy="2476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4" name="组合 12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6" name="六边形 12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7" name="等腰三角形 12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5985850" y="234180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3" name="椭圆 12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4" name="图片 1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5435" y="1920036"/>
            <a:ext cx="2118984" cy="863290"/>
          </a:xfrm>
          <a:prstGeom prst="rect">
            <a:avLst/>
          </a:prstGeom>
        </p:spPr>
      </p:pic>
      <p:sp>
        <p:nvSpPr>
          <p:cNvPr id="165" name="文本框 164"/>
          <p:cNvSpPr txBox="1"/>
          <p:nvPr/>
        </p:nvSpPr>
        <p:spPr>
          <a:xfrm>
            <a:off x="7881972" y="2697058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67" name="直接箭头连接符 166"/>
          <p:cNvCxnSpPr/>
          <p:nvPr/>
        </p:nvCxnSpPr>
        <p:spPr>
          <a:xfrm flipV="1">
            <a:off x="9294196" y="2875788"/>
            <a:ext cx="0" cy="5414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矩形 169"/>
          <p:cNvSpPr/>
          <p:nvPr/>
        </p:nvSpPr>
        <p:spPr>
          <a:xfrm>
            <a:off x="7881972" y="3979394"/>
            <a:ext cx="380425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Find out about the endless applications of the bulk continuous filaments (BCF) and nylon textile filaments (NTF) we produce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73" name="组合 172"/>
          <p:cNvGrpSpPr/>
          <p:nvPr/>
        </p:nvGrpSpPr>
        <p:grpSpPr>
          <a:xfrm>
            <a:off x="8022884" y="3556193"/>
            <a:ext cx="3543664" cy="314559"/>
            <a:chOff x="8022884" y="3611958"/>
            <a:chExt cx="2655660" cy="258794"/>
          </a:xfrm>
        </p:grpSpPr>
        <p:sp>
          <p:nvSpPr>
            <p:cNvPr id="171" name="矩形 170"/>
            <p:cNvSpPr/>
            <p:nvPr/>
          </p:nvSpPr>
          <p:spPr>
            <a:xfrm>
              <a:off x="8022884" y="3611959"/>
              <a:ext cx="1327830" cy="258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>
            <a:xfrm>
              <a:off x="9350714" y="3611958"/>
              <a:ext cx="1327830" cy="258793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2" name="矩形 181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文本框 182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4" name="文本框 183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85" name="直接连接符 184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椭圆 185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7" name="文本框 186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组合 175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78" name="六边形 177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9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11343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161" y="1892665"/>
            <a:ext cx="1219200" cy="12192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6" y="1892665"/>
            <a:ext cx="1219200" cy="1219200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11" y="1892665"/>
            <a:ext cx="1219200" cy="121920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586" y="1892665"/>
            <a:ext cx="1219200" cy="121920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061" y="1851235"/>
            <a:ext cx="1219200" cy="1219200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235550" y="3261833"/>
            <a:ext cx="1437655" cy="1871912"/>
            <a:chOff x="1235550" y="3307188"/>
            <a:chExt cx="1437655" cy="1871912"/>
          </a:xfrm>
        </p:grpSpPr>
        <p:sp>
          <p:nvSpPr>
            <p:cNvPr id="74" name="矩形 73"/>
            <p:cNvSpPr/>
            <p:nvPr/>
          </p:nvSpPr>
          <p:spPr>
            <a:xfrm>
              <a:off x="1343995" y="3307188"/>
              <a:ext cx="1329210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MARS D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75" name="直接连接符 7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矩形 7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307656" y="3261833"/>
            <a:ext cx="1407413" cy="1871912"/>
            <a:chOff x="1235550" y="3307188"/>
            <a:chExt cx="1407413" cy="1871912"/>
          </a:xfrm>
        </p:grpSpPr>
        <p:sp>
          <p:nvSpPr>
            <p:cNvPr id="79" name="矩形 78"/>
            <p:cNvSpPr/>
            <p:nvPr/>
          </p:nvSpPr>
          <p:spPr>
            <a:xfrm>
              <a:off x="1343995" y="3307188"/>
              <a:ext cx="116730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OHN LI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0" name="直接连接符 7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矩形 8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5359885" y="3261833"/>
            <a:ext cx="1407413" cy="1871912"/>
            <a:chOff x="1235550" y="3307188"/>
            <a:chExt cx="1407413" cy="1871912"/>
          </a:xfrm>
        </p:grpSpPr>
        <p:sp>
          <p:nvSpPr>
            <p:cNvPr id="84" name="矩形 83"/>
            <p:cNvSpPr/>
            <p:nvPr/>
          </p:nvSpPr>
          <p:spPr>
            <a:xfrm>
              <a:off x="1343995" y="3307188"/>
              <a:ext cx="125066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LYHN ZE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矩形 8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7487033" y="3261833"/>
            <a:ext cx="1407413" cy="1871912"/>
            <a:chOff x="1235550" y="3307188"/>
            <a:chExt cx="1407413" cy="1871912"/>
          </a:xfrm>
        </p:grpSpPr>
        <p:sp>
          <p:nvSpPr>
            <p:cNvPr id="89" name="矩形 88"/>
            <p:cNvSpPr/>
            <p:nvPr/>
          </p:nvSpPr>
          <p:spPr>
            <a:xfrm>
              <a:off x="1343995" y="3307188"/>
              <a:ext cx="128272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HAR S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矩形 9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9500219" y="3261833"/>
            <a:ext cx="1407413" cy="1871912"/>
            <a:chOff x="1235550" y="3307188"/>
            <a:chExt cx="1407413" cy="1871912"/>
          </a:xfrm>
        </p:grpSpPr>
        <p:sp>
          <p:nvSpPr>
            <p:cNvPr id="94" name="矩形 93"/>
            <p:cNvSpPr/>
            <p:nvPr/>
          </p:nvSpPr>
          <p:spPr>
            <a:xfrm>
              <a:off x="1343995" y="3307188"/>
              <a:ext cx="126348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ACK HA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5" name="直接连接符 9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矩形 9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99" name="组合 9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06" name="矩形 10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9" name="直接连接符 10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椭圆 10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组合 9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4" name="六边形 10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1" name="组合 10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2" name="六边形 10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9426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26" y="2560182"/>
            <a:ext cx="255323" cy="554128"/>
          </a:xfrm>
          <a:prstGeom prst="rect">
            <a:avLst/>
          </a:prstGeom>
        </p:spPr>
      </p:pic>
      <p:pic>
        <p:nvPicPr>
          <p:cNvPr id="109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08" y="2560182"/>
            <a:ext cx="255323" cy="554128"/>
          </a:xfrm>
          <a:prstGeom prst="rect">
            <a:avLst/>
          </a:prstGeom>
        </p:spPr>
      </p:pic>
      <p:pic>
        <p:nvPicPr>
          <p:cNvPr id="110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791" y="2560182"/>
            <a:ext cx="255323" cy="554128"/>
          </a:xfrm>
          <a:prstGeom prst="rect">
            <a:avLst/>
          </a:prstGeom>
        </p:spPr>
      </p:pic>
      <p:pic>
        <p:nvPicPr>
          <p:cNvPr id="11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89" y="3322121"/>
            <a:ext cx="255323" cy="554128"/>
          </a:xfrm>
          <a:prstGeom prst="rect">
            <a:avLst/>
          </a:prstGeom>
        </p:spPr>
      </p:pic>
      <p:pic>
        <p:nvPicPr>
          <p:cNvPr id="11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3322121"/>
            <a:ext cx="217909" cy="553622"/>
          </a:xfrm>
          <a:prstGeom prst="rect">
            <a:avLst/>
          </a:prstGeom>
        </p:spPr>
      </p:pic>
      <p:pic>
        <p:nvPicPr>
          <p:cNvPr id="11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3322121"/>
            <a:ext cx="217909" cy="553622"/>
          </a:xfrm>
          <a:prstGeom prst="rect">
            <a:avLst/>
          </a:prstGeom>
        </p:spPr>
      </p:pic>
      <p:pic>
        <p:nvPicPr>
          <p:cNvPr id="11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3322121"/>
            <a:ext cx="217909" cy="553622"/>
          </a:xfrm>
          <a:prstGeom prst="rect">
            <a:avLst/>
          </a:prstGeom>
        </p:spPr>
      </p:pic>
      <p:pic>
        <p:nvPicPr>
          <p:cNvPr id="11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3322121"/>
            <a:ext cx="217909" cy="553622"/>
          </a:xfrm>
          <a:prstGeom prst="rect">
            <a:avLst/>
          </a:prstGeom>
        </p:spPr>
      </p:pic>
      <p:pic>
        <p:nvPicPr>
          <p:cNvPr id="119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71" y="3322121"/>
            <a:ext cx="255323" cy="554128"/>
          </a:xfrm>
          <a:prstGeom prst="rect">
            <a:avLst/>
          </a:prstGeom>
        </p:spPr>
      </p:pic>
      <p:pic>
        <p:nvPicPr>
          <p:cNvPr id="120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54" y="3322121"/>
            <a:ext cx="255323" cy="554128"/>
          </a:xfrm>
          <a:prstGeom prst="rect">
            <a:avLst/>
          </a:prstGeom>
        </p:spPr>
      </p:pic>
      <p:pic>
        <p:nvPicPr>
          <p:cNvPr id="12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951" y="4115792"/>
            <a:ext cx="255323" cy="554128"/>
          </a:xfrm>
          <a:prstGeom prst="rect">
            <a:avLst/>
          </a:prstGeom>
        </p:spPr>
      </p:pic>
      <p:pic>
        <p:nvPicPr>
          <p:cNvPr id="122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734" y="4115792"/>
            <a:ext cx="255323" cy="554128"/>
          </a:xfrm>
          <a:prstGeom prst="rect">
            <a:avLst/>
          </a:prstGeom>
        </p:spPr>
      </p:pic>
      <p:pic>
        <p:nvPicPr>
          <p:cNvPr id="123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7" y="4115792"/>
            <a:ext cx="255323" cy="554128"/>
          </a:xfrm>
          <a:prstGeom prst="rect">
            <a:avLst/>
          </a:prstGeom>
        </p:spPr>
      </p:pic>
      <p:pic>
        <p:nvPicPr>
          <p:cNvPr id="124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300" y="4115792"/>
            <a:ext cx="255323" cy="554128"/>
          </a:xfrm>
          <a:prstGeom prst="rect">
            <a:avLst/>
          </a:prstGeom>
        </p:spPr>
      </p:pic>
      <p:pic>
        <p:nvPicPr>
          <p:cNvPr id="125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83" y="4115792"/>
            <a:ext cx="255323" cy="554128"/>
          </a:xfrm>
          <a:prstGeom prst="rect">
            <a:avLst/>
          </a:prstGeom>
        </p:spPr>
      </p:pic>
      <p:pic>
        <p:nvPicPr>
          <p:cNvPr id="126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68" y="4115792"/>
            <a:ext cx="255323" cy="554128"/>
          </a:xfrm>
          <a:prstGeom prst="rect">
            <a:avLst/>
          </a:prstGeom>
        </p:spPr>
      </p:pic>
      <p:pic>
        <p:nvPicPr>
          <p:cNvPr id="127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4115792"/>
            <a:ext cx="217909" cy="553622"/>
          </a:xfrm>
          <a:prstGeom prst="rect">
            <a:avLst/>
          </a:prstGeom>
        </p:spPr>
      </p:pic>
      <p:pic>
        <p:nvPicPr>
          <p:cNvPr id="12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4115792"/>
            <a:ext cx="217909" cy="553622"/>
          </a:xfrm>
          <a:prstGeom prst="rect">
            <a:avLst/>
          </a:prstGeom>
        </p:spPr>
      </p:pic>
      <p:pic>
        <p:nvPicPr>
          <p:cNvPr id="12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4115792"/>
            <a:ext cx="217909" cy="553622"/>
          </a:xfrm>
          <a:prstGeom prst="rect">
            <a:avLst/>
          </a:prstGeom>
        </p:spPr>
      </p:pic>
      <p:pic>
        <p:nvPicPr>
          <p:cNvPr id="13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4115792"/>
            <a:ext cx="217909" cy="553622"/>
          </a:xfrm>
          <a:prstGeom prst="rect">
            <a:avLst/>
          </a:prstGeom>
        </p:spPr>
      </p:pic>
      <p:sp>
        <p:nvSpPr>
          <p:cNvPr id="131" name="文本框 130"/>
          <p:cNvSpPr txBox="1"/>
          <p:nvPr/>
        </p:nvSpPr>
        <p:spPr>
          <a:xfrm>
            <a:off x="5830246" y="2488019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7205109" y="2545734"/>
            <a:ext cx="4110421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zh-CN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ATEST PRIZE TO CELEBRATE </a:t>
            </a:r>
          </a:p>
          <a:p>
            <a:pPr fontAlgn="base"/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END </a:t>
            </a:r>
            <a:r>
              <a:rPr lang="en-US" altLang="zh-CN" sz="4000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OF </a:t>
            </a:r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2014</a:t>
            </a:r>
            <a:endParaRPr lang="en-US" altLang="zh-CN" sz="4000" b="0" i="0" cap="all" dirty="0">
              <a:solidFill>
                <a:schemeClr val="bg1"/>
              </a:solidFill>
              <a:effectLst/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cxnSp>
        <p:nvCxnSpPr>
          <p:cNvPr id="133" name="直接连接符 132"/>
          <p:cNvCxnSpPr/>
          <p:nvPr/>
        </p:nvCxnSpPr>
        <p:spPr>
          <a:xfrm flipH="1">
            <a:off x="5978860" y="3469362"/>
            <a:ext cx="5128982" cy="0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5882057" y="3588334"/>
            <a:ext cx="5225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 err="1">
                <a:solidFill>
                  <a:schemeClr val="bg1"/>
                </a:solidFill>
              </a:rPr>
              <a:t>uxaqua's</a:t>
            </a:r>
            <a:r>
              <a:rPr lang="en-US" altLang="zh-CN" sz="12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pic>
        <p:nvPicPr>
          <p:cNvPr id="13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00" y="3342282"/>
            <a:ext cx="217909" cy="553622"/>
          </a:xfrm>
          <a:prstGeom prst="rect">
            <a:avLst/>
          </a:prstGeom>
        </p:spPr>
      </p:pic>
      <p:pic>
        <p:nvPicPr>
          <p:cNvPr id="136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68" y="3342282"/>
            <a:ext cx="217909" cy="553622"/>
          </a:xfrm>
          <a:prstGeom prst="rect">
            <a:avLst/>
          </a:prstGeom>
        </p:spPr>
      </p:pic>
      <p:pic>
        <p:nvPicPr>
          <p:cNvPr id="137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936" y="3342282"/>
            <a:ext cx="217909" cy="553622"/>
          </a:xfrm>
          <a:prstGeom prst="rect">
            <a:avLst/>
          </a:prstGeom>
        </p:spPr>
      </p:pic>
      <p:pic>
        <p:nvPicPr>
          <p:cNvPr id="13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2" y="2575561"/>
            <a:ext cx="217909" cy="553622"/>
          </a:xfrm>
          <a:prstGeom prst="rect">
            <a:avLst/>
          </a:prstGeom>
        </p:spPr>
      </p:pic>
      <p:pic>
        <p:nvPicPr>
          <p:cNvPr id="13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250" y="2575561"/>
            <a:ext cx="217909" cy="553622"/>
          </a:xfrm>
          <a:prstGeom prst="rect">
            <a:avLst/>
          </a:prstGeom>
        </p:spPr>
      </p:pic>
      <p:pic>
        <p:nvPicPr>
          <p:cNvPr id="14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18" y="2575561"/>
            <a:ext cx="217909" cy="553622"/>
          </a:xfrm>
          <a:prstGeom prst="rect">
            <a:avLst/>
          </a:prstGeom>
        </p:spPr>
      </p:pic>
      <p:pic>
        <p:nvPicPr>
          <p:cNvPr id="141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786" y="2575561"/>
            <a:ext cx="217909" cy="553622"/>
          </a:xfrm>
          <a:prstGeom prst="rect">
            <a:avLst/>
          </a:prstGeom>
        </p:spPr>
      </p:pic>
      <p:pic>
        <p:nvPicPr>
          <p:cNvPr id="14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69" y="2595722"/>
            <a:ext cx="217909" cy="553622"/>
          </a:xfrm>
          <a:prstGeom prst="rect">
            <a:avLst/>
          </a:prstGeom>
        </p:spPr>
      </p:pic>
      <p:pic>
        <p:nvPicPr>
          <p:cNvPr id="14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237" y="2595722"/>
            <a:ext cx="217909" cy="553622"/>
          </a:xfrm>
          <a:prstGeom prst="rect">
            <a:avLst/>
          </a:prstGeom>
        </p:spPr>
      </p:pic>
      <p:pic>
        <p:nvPicPr>
          <p:cNvPr id="14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05" y="2595722"/>
            <a:ext cx="217909" cy="553622"/>
          </a:xfrm>
          <a:prstGeom prst="rect">
            <a:avLst/>
          </a:prstGeom>
        </p:spPr>
      </p:pic>
      <p:grpSp>
        <p:nvGrpSpPr>
          <p:cNvPr id="145" name="组合 1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6" name="组合 1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3" name="矩形 152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文本框 153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6" name="直接连接符 155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椭圆 156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8" name="文本框 157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8" name="组合 147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9" name="六边形 148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0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78279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683257" y="1899193"/>
            <a:ext cx="2185498" cy="1009866"/>
            <a:chOff x="1683257" y="2044963"/>
            <a:chExt cx="2185498" cy="1009866"/>
          </a:xfrm>
        </p:grpSpPr>
        <p:grpSp>
          <p:nvGrpSpPr>
            <p:cNvPr id="8" name="组合 7"/>
            <p:cNvGrpSpPr/>
            <p:nvPr/>
          </p:nvGrpSpPr>
          <p:grpSpPr>
            <a:xfrm>
              <a:off x="1683257" y="2044963"/>
              <a:ext cx="2185498" cy="1009866"/>
              <a:chOff x="2333549" y="2271853"/>
              <a:chExt cx="2185498" cy="1009866"/>
            </a:xfrm>
          </p:grpSpPr>
          <p:sp>
            <p:nvSpPr>
              <p:cNvPr id="7" name="圆角矩形 6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圆角矩形 95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813838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矩形 98"/>
            <p:cNvSpPr/>
            <p:nvPr/>
          </p:nvSpPr>
          <p:spPr>
            <a:xfrm>
              <a:off x="2087362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矩形 99"/>
            <p:cNvSpPr/>
            <p:nvPr/>
          </p:nvSpPr>
          <p:spPr>
            <a:xfrm>
              <a:off x="2361277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矩形 100"/>
            <p:cNvSpPr/>
            <p:nvPr/>
          </p:nvSpPr>
          <p:spPr>
            <a:xfrm>
              <a:off x="2635192" y="2171724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83257" y="3131686"/>
            <a:ext cx="2185498" cy="1009866"/>
            <a:chOff x="1683257" y="3246976"/>
            <a:chExt cx="2185498" cy="1009866"/>
          </a:xfrm>
        </p:grpSpPr>
        <p:grpSp>
          <p:nvGrpSpPr>
            <p:cNvPr id="105" name="组合 104"/>
            <p:cNvGrpSpPr/>
            <p:nvPr/>
          </p:nvGrpSpPr>
          <p:grpSpPr>
            <a:xfrm>
              <a:off x="1683257" y="3246976"/>
              <a:ext cx="2185498" cy="1009866"/>
              <a:chOff x="2333549" y="2271853"/>
              <a:chExt cx="2185498" cy="1009866"/>
            </a:xfrm>
          </p:grpSpPr>
          <p:sp>
            <p:nvSpPr>
              <p:cNvPr id="106" name="圆角矩形 10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圆角矩形 10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2" name="矩形 101"/>
            <p:cNvSpPr/>
            <p:nvPr/>
          </p:nvSpPr>
          <p:spPr>
            <a:xfrm>
              <a:off x="1813838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矩形 102"/>
            <p:cNvSpPr/>
            <p:nvPr/>
          </p:nvSpPr>
          <p:spPr>
            <a:xfrm>
              <a:off x="2087753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 103"/>
            <p:cNvSpPr/>
            <p:nvPr/>
          </p:nvSpPr>
          <p:spPr>
            <a:xfrm>
              <a:off x="2361668" y="3383218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1683257" y="4385148"/>
            <a:ext cx="2185498" cy="1009866"/>
            <a:chOff x="1683257" y="4500438"/>
            <a:chExt cx="2185498" cy="1009866"/>
          </a:xfrm>
        </p:grpSpPr>
        <p:grpSp>
          <p:nvGrpSpPr>
            <p:cNvPr id="108" name="组合 107"/>
            <p:cNvGrpSpPr/>
            <p:nvPr/>
          </p:nvGrpSpPr>
          <p:grpSpPr>
            <a:xfrm>
              <a:off x="1683257" y="4500438"/>
              <a:ext cx="2185498" cy="1009866"/>
              <a:chOff x="2333549" y="2271853"/>
              <a:chExt cx="2185498" cy="1009866"/>
            </a:xfrm>
          </p:grpSpPr>
          <p:sp>
            <p:nvSpPr>
              <p:cNvPr id="116" name="圆角矩形 11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圆角矩形 11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8" name="矩形 117"/>
            <p:cNvSpPr/>
            <p:nvPr/>
          </p:nvSpPr>
          <p:spPr>
            <a:xfrm>
              <a:off x="1813838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2087753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6" name="文本框 145"/>
          <p:cNvSpPr txBox="1"/>
          <p:nvPr/>
        </p:nvSpPr>
        <p:spPr>
          <a:xfrm>
            <a:off x="4190386" y="1767240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4190386" y="3012881"/>
            <a:ext cx="14109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6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190386" y="4258522"/>
            <a:ext cx="13821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4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2173848"/>
            <a:ext cx="183730" cy="171309"/>
          </a:xfrm>
          <a:prstGeom prst="rect">
            <a:avLst/>
          </a:prstGeom>
        </p:spPr>
      </p:pic>
      <p:pic>
        <p:nvPicPr>
          <p:cNvPr id="150" name="图片 14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3374737"/>
            <a:ext cx="183730" cy="171309"/>
          </a:xfrm>
          <a:prstGeom prst="rect">
            <a:avLst/>
          </a:prstGeom>
        </p:spPr>
      </p:pic>
      <p:pic>
        <p:nvPicPr>
          <p:cNvPr id="151" name="图片 15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1" y="4666777"/>
            <a:ext cx="183730" cy="17130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5898918" y="2041562"/>
            <a:ext cx="1710808" cy="388144"/>
            <a:chOff x="6637803" y="2055738"/>
            <a:chExt cx="1710808" cy="388144"/>
          </a:xfrm>
        </p:grpSpPr>
        <p:sp>
          <p:nvSpPr>
            <p:cNvPr id="152" name="文本框 151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4" name="矩形 153"/>
          <p:cNvSpPr/>
          <p:nvPr/>
        </p:nvSpPr>
        <p:spPr>
          <a:xfrm>
            <a:off x="7570459" y="210544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5" name="组合 154"/>
          <p:cNvGrpSpPr/>
          <p:nvPr/>
        </p:nvGrpSpPr>
        <p:grpSpPr>
          <a:xfrm>
            <a:off x="5898918" y="3271747"/>
            <a:ext cx="1710808" cy="388144"/>
            <a:chOff x="6637803" y="2055738"/>
            <a:chExt cx="1710808" cy="388144"/>
          </a:xfrm>
        </p:grpSpPr>
        <p:sp>
          <p:nvSpPr>
            <p:cNvPr id="156" name="文本框 155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8" name="矩形 157"/>
          <p:cNvSpPr/>
          <p:nvPr/>
        </p:nvSpPr>
        <p:spPr>
          <a:xfrm>
            <a:off x="7570459" y="3335629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5889214" y="4535272"/>
            <a:ext cx="1710808" cy="388144"/>
            <a:chOff x="6637803" y="2055738"/>
            <a:chExt cx="1710808" cy="388144"/>
          </a:xfrm>
        </p:grpSpPr>
        <p:sp>
          <p:nvSpPr>
            <p:cNvPr id="160" name="文本框 159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7560755" y="459915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00883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1297161" y="2013394"/>
            <a:ext cx="9730464" cy="1828530"/>
            <a:chOff x="710321" y="2128720"/>
            <a:chExt cx="10824958" cy="20342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组合 70"/>
            <p:cNvGrpSpPr/>
            <p:nvPr/>
          </p:nvGrpSpPr>
          <p:grpSpPr>
            <a:xfrm>
              <a:off x="710321" y="2128720"/>
              <a:ext cx="2034205" cy="2034205"/>
              <a:chOff x="443661" y="2309085"/>
              <a:chExt cx="2034205" cy="2034205"/>
            </a:xfrm>
          </p:grpSpPr>
          <p:sp>
            <p:nvSpPr>
              <p:cNvPr id="58" name="椭圆 57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428208" y="2309085"/>
                <a:ext cx="1045581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3639213" y="2128720"/>
              <a:ext cx="2034205" cy="2034205"/>
              <a:chOff x="443661" y="2309085"/>
              <a:chExt cx="2034205" cy="2034205"/>
            </a:xfrm>
          </p:grpSpPr>
          <p:sp>
            <p:nvSpPr>
              <p:cNvPr id="110" name="椭圆 109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/>
              <p:cNvSpPr/>
              <p:nvPr/>
            </p:nvSpPr>
            <p:spPr>
              <a:xfrm>
                <a:off x="1428208" y="2309085"/>
                <a:ext cx="1042939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6568105" y="2128720"/>
              <a:ext cx="2034206" cy="2034205"/>
              <a:chOff x="443661" y="2309085"/>
              <a:chExt cx="2034206" cy="2034205"/>
            </a:xfrm>
          </p:grpSpPr>
          <p:sp>
            <p:nvSpPr>
              <p:cNvPr id="113" name="椭圆 112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/>
              <p:cNvSpPr/>
              <p:nvPr/>
            </p:nvSpPr>
            <p:spPr>
              <a:xfrm>
                <a:off x="1428209" y="2309085"/>
                <a:ext cx="1049658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5" name="组合 114"/>
            <p:cNvGrpSpPr/>
            <p:nvPr/>
          </p:nvGrpSpPr>
          <p:grpSpPr>
            <a:xfrm>
              <a:off x="9496997" y="2128720"/>
              <a:ext cx="2038282" cy="2034205"/>
              <a:chOff x="443661" y="2309085"/>
              <a:chExt cx="2038282" cy="203420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1428208" y="2309085"/>
                <a:ext cx="1053735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3030779" y="3019547"/>
              <a:ext cx="318104" cy="325815"/>
            </a:xfrm>
            <a:prstGeom prst="rect">
              <a:avLst/>
            </a:prstGeom>
          </p:spPr>
        </p:pic>
        <p:pic>
          <p:nvPicPr>
            <p:cNvPr id="121" name="图片 1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8902742" y="3039718"/>
              <a:ext cx="318104" cy="325815"/>
            </a:xfrm>
            <a:prstGeom prst="rect">
              <a:avLst/>
            </a:prstGeom>
          </p:spPr>
        </p:pic>
        <p:pic>
          <p:nvPicPr>
            <p:cNvPr id="122" name="图片 1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5939021" y="3019547"/>
              <a:ext cx="318104" cy="325815"/>
            </a:xfrm>
            <a:prstGeom prst="rect">
              <a:avLst/>
            </a:prstGeom>
          </p:spPr>
        </p:pic>
        <p:grpSp>
          <p:nvGrpSpPr>
            <p:cNvPr id="123" name="Group 15"/>
            <p:cNvGrpSpPr/>
            <p:nvPr/>
          </p:nvGrpSpPr>
          <p:grpSpPr bwMode="black">
            <a:xfrm>
              <a:off x="1251750" y="2697808"/>
              <a:ext cx="969985" cy="788919"/>
              <a:chOff x="5184775" y="225425"/>
              <a:chExt cx="1500188" cy="1220788"/>
            </a:xfrm>
            <a:solidFill>
              <a:srgbClr val="EE3551"/>
            </a:solidFill>
          </p:grpSpPr>
          <p:sp>
            <p:nvSpPr>
              <p:cNvPr id="124" name="Freeform 1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reeform 1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7" name="Freeform 81"/>
            <p:cNvSpPr>
              <a:spLocks noEditPoints="1"/>
            </p:cNvSpPr>
            <p:nvPr/>
          </p:nvSpPr>
          <p:spPr bwMode="auto">
            <a:xfrm>
              <a:off x="4289239" y="2714604"/>
              <a:ext cx="836525" cy="685802"/>
            </a:xfrm>
            <a:custGeom>
              <a:avLst/>
              <a:gdLst>
                <a:gd name="T0" fmla="*/ 239 w 280"/>
                <a:gd name="T1" fmla="*/ 66 h 281"/>
                <a:gd name="T2" fmla="*/ 214 w 280"/>
                <a:gd name="T3" fmla="*/ 66 h 281"/>
                <a:gd name="T4" fmla="*/ 214 w 280"/>
                <a:gd name="T5" fmla="*/ 8 h 281"/>
                <a:gd name="T6" fmla="*/ 207 w 280"/>
                <a:gd name="T7" fmla="*/ 0 h 281"/>
                <a:gd name="T8" fmla="*/ 8 w 280"/>
                <a:gd name="T9" fmla="*/ 0 h 281"/>
                <a:gd name="T10" fmla="*/ 0 w 280"/>
                <a:gd name="T11" fmla="*/ 8 h 281"/>
                <a:gd name="T12" fmla="*/ 0 w 280"/>
                <a:gd name="T13" fmla="*/ 207 h 281"/>
                <a:gd name="T14" fmla="*/ 74 w 280"/>
                <a:gd name="T15" fmla="*/ 281 h 281"/>
                <a:gd name="T16" fmla="*/ 141 w 280"/>
                <a:gd name="T17" fmla="*/ 281 h 281"/>
                <a:gd name="T18" fmla="*/ 214 w 280"/>
                <a:gd name="T19" fmla="*/ 214 h 281"/>
                <a:gd name="T20" fmla="*/ 239 w 280"/>
                <a:gd name="T21" fmla="*/ 214 h 281"/>
                <a:gd name="T22" fmla="*/ 280 w 280"/>
                <a:gd name="T23" fmla="*/ 140 h 281"/>
                <a:gd name="T24" fmla="*/ 239 w 280"/>
                <a:gd name="T25" fmla="*/ 66 h 281"/>
                <a:gd name="T26" fmla="*/ 200 w 280"/>
                <a:gd name="T27" fmla="*/ 15 h 281"/>
                <a:gd name="T28" fmla="*/ 200 w 280"/>
                <a:gd name="T29" fmla="*/ 49 h 281"/>
                <a:gd name="T30" fmla="*/ 15 w 280"/>
                <a:gd name="T31" fmla="*/ 49 h 281"/>
                <a:gd name="T32" fmla="*/ 15 w 280"/>
                <a:gd name="T33" fmla="*/ 15 h 281"/>
                <a:gd name="T34" fmla="*/ 200 w 280"/>
                <a:gd name="T35" fmla="*/ 15 h 281"/>
                <a:gd name="T36" fmla="*/ 239 w 280"/>
                <a:gd name="T37" fmla="*/ 199 h 281"/>
                <a:gd name="T38" fmla="*/ 214 w 280"/>
                <a:gd name="T39" fmla="*/ 199 h 281"/>
                <a:gd name="T40" fmla="*/ 214 w 280"/>
                <a:gd name="T41" fmla="*/ 81 h 281"/>
                <a:gd name="T42" fmla="*/ 239 w 280"/>
                <a:gd name="T43" fmla="*/ 81 h 281"/>
                <a:gd name="T44" fmla="*/ 265 w 280"/>
                <a:gd name="T45" fmla="*/ 140 h 281"/>
                <a:gd name="T46" fmla="*/ 239 w 280"/>
                <a:gd name="T47" fmla="*/ 19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281">
                  <a:moveTo>
                    <a:pt x="239" y="66"/>
                  </a:moveTo>
                  <a:cubicBezTo>
                    <a:pt x="214" y="66"/>
                    <a:pt x="214" y="66"/>
                    <a:pt x="214" y="6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1" y="0"/>
                    <a:pt x="20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8"/>
                    <a:pt x="33" y="281"/>
                    <a:pt x="74" y="281"/>
                  </a:cubicBezTo>
                  <a:cubicBezTo>
                    <a:pt x="141" y="281"/>
                    <a:pt x="141" y="281"/>
                    <a:pt x="141" y="281"/>
                  </a:cubicBezTo>
                  <a:cubicBezTo>
                    <a:pt x="179" y="281"/>
                    <a:pt x="211" y="251"/>
                    <a:pt x="214" y="214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62" y="214"/>
                    <a:pt x="280" y="181"/>
                    <a:pt x="280" y="140"/>
                  </a:cubicBezTo>
                  <a:cubicBezTo>
                    <a:pt x="280" y="98"/>
                    <a:pt x="262" y="66"/>
                    <a:pt x="239" y="66"/>
                  </a:cubicBezTo>
                  <a:close/>
                  <a:moveTo>
                    <a:pt x="200" y="15"/>
                  </a:moveTo>
                  <a:cubicBezTo>
                    <a:pt x="200" y="49"/>
                    <a:pt x="200" y="49"/>
                    <a:pt x="200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200" y="15"/>
                  </a:lnTo>
                  <a:close/>
                  <a:moveTo>
                    <a:pt x="239" y="199"/>
                  </a:moveTo>
                  <a:cubicBezTo>
                    <a:pt x="214" y="199"/>
                    <a:pt x="214" y="199"/>
                    <a:pt x="214" y="199"/>
                  </a:cubicBezTo>
                  <a:cubicBezTo>
                    <a:pt x="214" y="81"/>
                    <a:pt x="214" y="81"/>
                    <a:pt x="214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51" y="81"/>
                    <a:pt x="265" y="106"/>
                    <a:pt x="265" y="140"/>
                  </a:cubicBezTo>
                  <a:cubicBezTo>
                    <a:pt x="265" y="174"/>
                    <a:pt x="251" y="199"/>
                    <a:pt x="239" y="199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Freeform 16"/>
            <p:cNvSpPr>
              <a:spLocks/>
            </p:cNvSpPr>
            <p:nvPr/>
          </p:nvSpPr>
          <p:spPr bwMode="black">
            <a:xfrm>
              <a:off x="7172610" y="2592068"/>
              <a:ext cx="1019822" cy="794956"/>
            </a:xfrm>
            <a:custGeom>
              <a:avLst/>
              <a:gdLst>
                <a:gd name="T0" fmla="*/ 313 w 315"/>
                <a:gd name="T1" fmla="*/ 135 h 236"/>
                <a:gd name="T2" fmla="*/ 300 w 315"/>
                <a:gd name="T3" fmla="*/ 125 h 236"/>
                <a:gd name="T4" fmla="*/ 294 w 315"/>
                <a:gd name="T5" fmla="*/ 122 h 236"/>
                <a:gd name="T6" fmla="*/ 124 w 315"/>
                <a:gd name="T7" fmla="*/ 58 h 236"/>
                <a:gd name="T8" fmla="*/ 125 w 315"/>
                <a:gd name="T9" fmla="*/ 56 h 236"/>
                <a:gd name="T10" fmla="*/ 100 w 315"/>
                <a:gd name="T11" fmla="*/ 39 h 236"/>
                <a:gd name="T12" fmla="*/ 153 w 315"/>
                <a:gd name="T13" fmla="*/ 11 h 236"/>
                <a:gd name="T14" fmla="*/ 103 w 315"/>
                <a:gd name="T15" fmla="*/ 8 h 236"/>
                <a:gd name="T16" fmla="*/ 61 w 315"/>
                <a:gd name="T17" fmla="*/ 44 h 236"/>
                <a:gd name="T18" fmla="*/ 54 w 315"/>
                <a:gd name="T19" fmla="*/ 85 h 236"/>
                <a:gd name="T20" fmla="*/ 37 w 315"/>
                <a:gd name="T21" fmla="*/ 112 h 236"/>
                <a:gd name="T22" fmla="*/ 56 w 315"/>
                <a:gd name="T23" fmla="*/ 133 h 236"/>
                <a:gd name="T24" fmla="*/ 63 w 315"/>
                <a:gd name="T25" fmla="*/ 135 h 236"/>
                <a:gd name="T26" fmla="*/ 35 w 315"/>
                <a:gd name="T27" fmla="*/ 135 h 236"/>
                <a:gd name="T28" fmla="*/ 31 w 315"/>
                <a:gd name="T29" fmla="*/ 141 h 236"/>
                <a:gd name="T30" fmla="*/ 35 w 315"/>
                <a:gd name="T31" fmla="*/ 147 h 236"/>
                <a:gd name="T32" fmla="*/ 50 w 315"/>
                <a:gd name="T33" fmla="*/ 147 h 236"/>
                <a:gd name="T34" fmla="*/ 50 w 315"/>
                <a:gd name="T35" fmla="*/ 176 h 236"/>
                <a:gd name="T36" fmla="*/ 0 w 315"/>
                <a:gd name="T37" fmla="*/ 176 h 236"/>
                <a:gd name="T38" fmla="*/ 0 w 315"/>
                <a:gd name="T39" fmla="*/ 236 h 236"/>
                <a:gd name="T40" fmla="*/ 227 w 315"/>
                <a:gd name="T41" fmla="*/ 236 h 236"/>
                <a:gd name="T42" fmla="*/ 227 w 315"/>
                <a:gd name="T43" fmla="*/ 176 h 236"/>
                <a:gd name="T44" fmla="*/ 61 w 315"/>
                <a:gd name="T45" fmla="*/ 176 h 236"/>
                <a:gd name="T46" fmla="*/ 61 w 315"/>
                <a:gd name="T47" fmla="*/ 147 h 236"/>
                <a:gd name="T48" fmla="*/ 75 w 315"/>
                <a:gd name="T49" fmla="*/ 147 h 236"/>
                <a:gd name="T50" fmla="*/ 79 w 315"/>
                <a:gd name="T51" fmla="*/ 141 h 236"/>
                <a:gd name="T52" fmla="*/ 75 w 315"/>
                <a:gd name="T53" fmla="*/ 135 h 236"/>
                <a:gd name="T54" fmla="*/ 70 w 315"/>
                <a:gd name="T55" fmla="*/ 135 h 236"/>
                <a:gd name="T56" fmla="*/ 77 w 315"/>
                <a:gd name="T57" fmla="*/ 127 h 236"/>
                <a:gd name="T58" fmla="*/ 84 w 315"/>
                <a:gd name="T59" fmla="*/ 93 h 236"/>
                <a:gd name="T60" fmla="*/ 112 w 315"/>
                <a:gd name="T61" fmla="*/ 93 h 236"/>
                <a:gd name="T62" fmla="*/ 113 w 315"/>
                <a:gd name="T63" fmla="*/ 90 h 236"/>
                <a:gd name="T64" fmla="*/ 282 w 315"/>
                <a:gd name="T65" fmla="*/ 154 h 236"/>
                <a:gd name="T66" fmla="*/ 289 w 315"/>
                <a:gd name="T67" fmla="*/ 156 h 236"/>
                <a:gd name="T68" fmla="*/ 305 w 315"/>
                <a:gd name="T69" fmla="*/ 156 h 236"/>
                <a:gd name="T70" fmla="*/ 314 w 315"/>
                <a:gd name="T71" fmla="*/ 145 h 236"/>
                <a:gd name="T72" fmla="*/ 313 w 315"/>
                <a:gd name="T73" fmla="*/ 13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236">
                  <a:moveTo>
                    <a:pt x="313" y="135"/>
                  </a:moveTo>
                  <a:cubicBezTo>
                    <a:pt x="311" y="131"/>
                    <a:pt x="306" y="127"/>
                    <a:pt x="300" y="125"/>
                  </a:cubicBezTo>
                  <a:cubicBezTo>
                    <a:pt x="298" y="124"/>
                    <a:pt x="296" y="123"/>
                    <a:pt x="294" y="122"/>
                  </a:cubicBezTo>
                  <a:cubicBezTo>
                    <a:pt x="237" y="101"/>
                    <a:pt x="181" y="80"/>
                    <a:pt x="124" y="58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32" y="52"/>
                    <a:pt x="104" y="51"/>
                    <a:pt x="100" y="39"/>
                  </a:cubicBezTo>
                  <a:cubicBezTo>
                    <a:pt x="96" y="26"/>
                    <a:pt x="146" y="14"/>
                    <a:pt x="153" y="11"/>
                  </a:cubicBezTo>
                  <a:cubicBezTo>
                    <a:pt x="161" y="7"/>
                    <a:pt x="125" y="0"/>
                    <a:pt x="103" y="8"/>
                  </a:cubicBezTo>
                  <a:cubicBezTo>
                    <a:pt x="81" y="16"/>
                    <a:pt x="69" y="29"/>
                    <a:pt x="61" y="44"/>
                  </a:cubicBezTo>
                  <a:cubicBezTo>
                    <a:pt x="53" y="58"/>
                    <a:pt x="55" y="77"/>
                    <a:pt x="54" y="85"/>
                  </a:cubicBezTo>
                  <a:cubicBezTo>
                    <a:pt x="54" y="92"/>
                    <a:pt x="40" y="104"/>
                    <a:pt x="37" y="112"/>
                  </a:cubicBezTo>
                  <a:cubicBezTo>
                    <a:pt x="32" y="125"/>
                    <a:pt x="46" y="129"/>
                    <a:pt x="56" y="133"/>
                  </a:cubicBezTo>
                  <a:cubicBezTo>
                    <a:pt x="59" y="134"/>
                    <a:pt x="61" y="135"/>
                    <a:pt x="63" y="13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3" y="135"/>
                    <a:pt x="31" y="138"/>
                    <a:pt x="31" y="141"/>
                  </a:cubicBezTo>
                  <a:cubicBezTo>
                    <a:pt x="31" y="144"/>
                    <a:pt x="33" y="147"/>
                    <a:pt x="35" y="147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7" y="147"/>
                    <a:pt x="79" y="144"/>
                    <a:pt x="79" y="141"/>
                  </a:cubicBezTo>
                  <a:cubicBezTo>
                    <a:pt x="79" y="138"/>
                    <a:pt x="77" y="135"/>
                    <a:pt x="75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3" y="134"/>
                    <a:pt x="75" y="132"/>
                    <a:pt x="77" y="127"/>
                  </a:cubicBezTo>
                  <a:cubicBezTo>
                    <a:pt x="82" y="118"/>
                    <a:pt x="76" y="104"/>
                    <a:pt x="84" y="93"/>
                  </a:cubicBezTo>
                  <a:cubicBezTo>
                    <a:pt x="91" y="83"/>
                    <a:pt x="112" y="93"/>
                    <a:pt x="112" y="93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70" y="111"/>
                    <a:pt x="226" y="132"/>
                    <a:pt x="282" y="154"/>
                  </a:cubicBezTo>
                  <a:cubicBezTo>
                    <a:pt x="284" y="154"/>
                    <a:pt x="287" y="155"/>
                    <a:pt x="289" y="156"/>
                  </a:cubicBezTo>
                  <a:cubicBezTo>
                    <a:pt x="294" y="158"/>
                    <a:pt x="300" y="158"/>
                    <a:pt x="305" y="156"/>
                  </a:cubicBezTo>
                  <a:cubicBezTo>
                    <a:pt x="310" y="154"/>
                    <a:pt x="314" y="150"/>
                    <a:pt x="314" y="145"/>
                  </a:cubicBezTo>
                  <a:cubicBezTo>
                    <a:pt x="315" y="142"/>
                    <a:pt x="314" y="138"/>
                    <a:pt x="313" y="135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  <p:sp>
          <p:nvSpPr>
            <p:cNvPr id="129" name="Freeform 12"/>
            <p:cNvSpPr>
              <a:spLocks noEditPoints="1"/>
            </p:cNvSpPr>
            <p:nvPr/>
          </p:nvSpPr>
          <p:spPr bwMode="black">
            <a:xfrm>
              <a:off x="10152330" y="2682847"/>
              <a:ext cx="800310" cy="799893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293486" y="4015971"/>
            <a:ext cx="1856589" cy="1619912"/>
            <a:chOff x="1293486" y="4015971"/>
            <a:chExt cx="1856589" cy="1619912"/>
          </a:xfrm>
        </p:grpSpPr>
        <p:sp>
          <p:nvSpPr>
            <p:cNvPr id="130" name="矩形 129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2" name="直接连接符 131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组合 132"/>
          <p:cNvGrpSpPr/>
          <p:nvPr/>
        </p:nvGrpSpPr>
        <p:grpSpPr>
          <a:xfrm>
            <a:off x="4050382" y="4013882"/>
            <a:ext cx="1856589" cy="1619912"/>
            <a:chOff x="1293486" y="4015971"/>
            <a:chExt cx="1856589" cy="1619912"/>
          </a:xfrm>
        </p:grpSpPr>
        <p:sp>
          <p:nvSpPr>
            <p:cNvPr id="134" name="矩形 133"/>
            <p:cNvSpPr/>
            <p:nvPr/>
          </p:nvSpPr>
          <p:spPr>
            <a:xfrm>
              <a:off x="1429266" y="4015971"/>
              <a:ext cx="16593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F FIBERS CONSUMED IN 2012 </a:t>
              </a: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ARE MANMADE FIBERS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5" name="矩形 134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6" name="直接连接符 135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组合 136"/>
          <p:cNvGrpSpPr/>
          <p:nvPr/>
        </p:nvGrpSpPr>
        <p:grpSpPr>
          <a:xfrm>
            <a:off x="6636117" y="4022944"/>
            <a:ext cx="1856589" cy="1619912"/>
            <a:chOff x="1293486" y="4015971"/>
            <a:chExt cx="1856589" cy="1619912"/>
          </a:xfrm>
        </p:grpSpPr>
        <p:sp>
          <p:nvSpPr>
            <p:cNvPr id="138" name="矩形 137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TEXTILE AND APPAREL WASTE </a:t>
              </a: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N GLOBAL PRODUCTION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直接连接符 139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组合 140"/>
          <p:cNvGrpSpPr/>
          <p:nvPr/>
        </p:nvGrpSpPr>
        <p:grpSpPr>
          <a:xfrm>
            <a:off x="9215905" y="4008219"/>
            <a:ext cx="1856589" cy="1619912"/>
            <a:chOff x="1293486" y="4015971"/>
            <a:chExt cx="1856589" cy="1619912"/>
          </a:xfrm>
        </p:grpSpPr>
        <p:sp>
          <p:nvSpPr>
            <p:cNvPr id="142" name="矩形 141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32460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9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3749044"/>
            <a:ext cx="1746422" cy="1746422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3780166"/>
            <a:ext cx="1746422" cy="1746422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1941547"/>
            <a:ext cx="1746422" cy="1746422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1941547"/>
            <a:ext cx="1746422" cy="1746422"/>
          </a:xfrm>
          <a:prstGeom prst="rect">
            <a:avLst/>
          </a:prstGeom>
        </p:spPr>
      </p:pic>
      <p:pic>
        <p:nvPicPr>
          <p:cNvPr id="77" name="图片 7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680" y="1941547"/>
            <a:ext cx="1747735" cy="1747735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13" y="1941547"/>
            <a:ext cx="1747735" cy="1747735"/>
          </a:xfrm>
          <a:prstGeom prst="rect">
            <a:avLst/>
          </a:prstGeom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03" y="1941547"/>
            <a:ext cx="1747735" cy="1747735"/>
          </a:xfrm>
          <a:prstGeom prst="rect">
            <a:avLst/>
          </a:prstGeom>
        </p:spPr>
      </p:pic>
      <p:grpSp>
        <p:nvGrpSpPr>
          <p:cNvPr id="80" name="组合 79"/>
          <p:cNvGrpSpPr/>
          <p:nvPr/>
        </p:nvGrpSpPr>
        <p:grpSpPr>
          <a:xfrm>
            <a:off x="5211168" y="3864019"/>
            <a:ext cx="5469331" cy="1554639"/>
            <a:chOff x="5211168" y="3864019"/>
            <a:chExt cx="5469331" cy="1554639"/>
          </a:xfrm>
        </p:grpSpPr>
        <p:grpSp>
          <p:nvGrpSpPr>
            <p:cNvPr id="75" name="组合 74"/>
            <p:cNvGrpSpPr/>
            <p:nvPr/>
          </p:nvGrpSpPr>
          <p:grpSpPr>
            <a:xfrm>
              <a:off x="5340246" y="3864019"/>
              <a:ext cx="3944572" cy="646331"/>
              <a:chOff x="-4321819" y="6216486"/>
              <a:chExt cx="3944572" cy="646331"/>
            </a:xfrm>
          </p:grpSpPr>
          <p:sp>
            <p:nvSpPr>
              <p:cNvPr id="108" name="矩形 107"/>
              <p:cNvSpPr/>
              <p:nvPr/>
            </p:nvSpPr>
            <p:spPr>
              <a:xfrm>
                <a:off x="-4306528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117" name="直接连接符 116"/>
              <p:cNvCxnSpPr/>
              <p:nvPr/>
            </p:nvCxnSpPr>
            <p:spPr>
              <a:xfrm>
                <a:off x="-4321819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6" name="矩形 145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8" name="组合 14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5" name="矩形 15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6" name="文本框 15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7" name="文本框 15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8" name="直接连接符 15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9" name="椭圆 15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0" name="文本框 15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组合 1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3" name="六边形 1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50" name="组合 1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837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I7nSWyV0Oi158uw0iiA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8</TotalTime>
  <Words>1886</Words>
  <Application>Microsoft Macintosh PowerPoint</Application>
  <PresentationFormat>自定义</PresentationFormat>
  <Paragraphs>243</Paragraphs>
  <Slides>20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1" baseType="lpstr"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csky.Me</dc:creator>
  <cp:lastModifiedBy>yuan lynn</cp:lastModifiedBy>
  <cp:revision>54</cp:revision>
  <dcterms:created xsi:type="dcterms:W3CDTF">2014-03-19T02:43:25Z</dcterms:created>
  <dcterms:modified xsi:type="dcterms:W3CDTF">2015-05-20T15:34:48Z</dcterms:modified>
</cp:coreProperties>
</file>